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1"/>
  </p:notesMasterIdLst>
  <p:sldIdLst>
    <p:sldId id="350" r:id="rId2"/>
    <p:sldId id="1184" r:id="rId3"/>
    <p:sldId id="1194" r:id="rId4"/>
    <p:sldId id="1196" r:id="rId5"/>
    <p:sldId id="1183" r:id="rId6"/>
    <p:sldId id="1189" r:id="rId7"/>
    <p:sldId id="1222" r:id="rId8"/>
    <p:sldId id="1188" r:id="rId9"/>
    <p:sldId id="1200" r:id="rId10"/>
    <p:sldId id="1201" r:id="rId11"/>
    <p:sldId id="1219" r:id="rId12"/>
    <p:sldId id="1202" r:id="rId13"/>
    <p:sldId id="1203" r:id="rId14"/>
    <p:sldId id="1204" r:id="rId15"/>
    <p:sldId id="1205" r:id="rId16"/>
    <p:sldId id="1220" r:id="rId17"/>
    <p:sldId id="1206" r:id="rId18"/>
    <p:sldId id="1207" r:id="rId19"/>
    <p:sldId id="1211" r:id="rId20"/>
    <p:sldId id="1221" r:id="rId21"/>
    <p:sldId id="1214" r:id="rId22"/>
    <p:sldId id="1215" r:id="rId23"/>
    <p:sldId id="1216" r:id="rId24"/>
    <p:sldId id="1213" r:id="rId25"/>
    <p:sldId id="1217" r:id="rId26"/>
    <p:sldId id="1218" r:id="rId27"/>
    <p:sldId id="1145" r:id="rId28"/>
    <p:sldId id="1146" r:id="rId29"/>
    <p:sldId id="1208" r:id="rId30"/>
  </p:sldIdLst>
  <p:sldSz cx="9144000" cy="5143500" type="screen16x9"/>
  <p:notesSz cx="7104063" cy="10234613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8A72C4-CD85-46BB-9451-89B241CD19AE}" v="2002" dt="2022-11-23T10:50:22.3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1" d="100"/>
          <a:sy n="31" d="100"/>
        </p:scale>
        <p:origin x="-48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B68A72C4-CD85-46BB-9451-89B241CD19AE}"/>
    <pc:docChg chg="undo custSel addSld delSld modSld sldOrd">
      <pc:chgData name="Stina Ru" userId="a298bcda0a73aae4" providerId="LiveId" clId="{B68A72C4-CD85-46BB-9451-89B241CD19AE}" dt="2022-11-23T11:05:14.949" v="19767" actId="113"/>
      <pc:docMkLst>
        <pc:docMk/>
      </pc:docMkLst>
      <pc:sldChg chg="del">
        <pc:chgData name="Stina Ru" userId="a298bcda0a73aae4" providerId="LiveId" clId="{B68A72C4-CD85-46BB-9451-89B241CD19AE}" dt="2022-11-21T22:31:38.863" v="1" actId="47"/>
        <pc:sldMkLst>
          <pc:docMk/>
          <pc:sldMk cId="1525154466" sldId="397"/>
        </pc:sldMkLst>
      </pc:sldChg>
      <pc:sldChg chg="del">
        <pc:chgData name="Stina Ru" userId="a298bcda0a73aae4" providerId="LiveId" clId="{B68A72C4-CD85-46BB-9451-89B241CD19AE}" dt="2022-11-21T22:31:40.338" v="4" actId="47"/>
        <pc:sldMkLst>
          <pc:docMk/>
          <pc:sldMk cId="617495542" sldId="421"/>
        </pc:sldMkLst>
      </pc:sldChg>
      <pc:sldChg chg="del">
        <pc:chgData name="Stina Ru" userId="a298bcda0a73aae4" providerId="LiveId" clId="{B68A72C4-CD85-46BB-9451-89B241CD19AE}" dt="2022-11-22T19:24:13.532" v="15734" actId="47"/>
        <pc:sldMkLst>
          <pc:docMk/>
          <pc:sldMk cId="3666530782" sldId="1060"/>
        </pc:sldMkLst>
      </pc:sldChg>
      <pc:sldChg chg="modSp mod">
        <pc:chgData name="Stina Ru" userId="a298bcda0a73aae4" providerId="LiveId" clId="{B68A72C4-CD85-46BB-9451-89B241CD19AE}" dt="2022-11-22T19:47:50.213" v="17732" actId="20577"/>
        <pc:sldMkLst>
          <pc:docMk/>
          <pc:sldMk cId="2230897240" sldId="1145"/>
        </pc:sldMkLst>
        <pc:spChg chg="mod">
          <ac:chgData name="Stina Ru" userId="a298bcda0a73aae4" providerId="LiveId" clId="{B68A72C4-CD85-46BB-9451-89B241CD19AE}" dt="2022-11-22T19:47:50.213" v="17732" actId="20577"/>
          <ac:spMkLst>
            <pc:docMk/>
            <pc:sldMk cId="2230897240" sldId="1145"/>
            <ac:spMk id="2" creationId="{2E8E55A0-73B3-4565-BA58-ACE5F64229D6}"/>
          </ac:spMkLst>
        </pc:spChg>
        <pc:spChg chg="mod">
          <ac:chgData name="Stina Ru" userId="a298bcda0a73aae4" providerId="LiveId" clId="{B68A72C4-CD85-46BB-9451-89B241CD19AE}" dt="2022-11-22T19:47:46.339" v="17725" actId="20577"/>
          <ac:spMkLst>
            <pc:docMk/>
            <pc:sldMk cId="2230897240" sldId="1145"/>
            <ac:spMk id="9" creationId="{28CD78BF-FD21-4273-AC08-8CC747F9071D}"/>
          </ac:spMkLst>
        </pc:spChg>
      </pc:sldChg>
      <pc:sldChg chg="modSp mod">
        <pc:chgData name="Stina Ru" userId="a298bcda0a73aae4" providerId="LiveId" clId="{B68A72C4-CD85-46BB-9451-89B241CD19AE}" dt="2022-11-22T22:16:07.894" v="18865"/>
        <pc:sldMkLst>
          <pc:docMk/>
          <pc:sldMk cId="294796903" sldId="1146"/>
        </pc:sldMkLst>
        <pc:spChg chg="mod">
          <ac:chgData name="Stina Ru" userId="a298bcda0a73aae4" providerId="LiveId" clId="{B68A72C4-CD85-46BB-9451-89B241CD19AE}" dt="2022-11-22T22:16:07.894" v="18865"/>
          <ac:spMkLst>
            <pc:docMk/>
            <pc:sldMk cId="294796903" sldId="1146"/>
            <ac:spMk id="9" creationId="{28CD78BF-FD21-4273-AC08-8CC747F9071D}"/>
          </ac:spMkLst>
        </pc:spChg>
      </pc:sldChg>
      <pc:sldChg chg="del">
        <pc:chgData name="Stina Ru" userId="a298bcda0a73aae4" providerId="LiveId" clId="{B68A72C4-CD85-46BB-9451-89B241CD19AE}" dt="2022-11-21T22:31:38.247" v="0" actId="47"/>
        <pc:sldMkLst>
          <pc:docMk/>
          <pc:sldMk cId="2773955374" sldId="1152"/>
        </pc:sldMkLst>
      </pc:sldChg>
      <pc:sldChg chg="del">
        <pc:chgData name="Stina Ru" userId="a298bcda0a73aae4" providerId="LiveId" clId="{B68A72C4-CD85-46BB-9451-89B241CD19AE}" dt="2022-11-22T19:48:48.998" v="17793" actId="47"/>
        <pc:sldMkLst>
          <pc:docMk/>
          <pc:sldMk cId="2769914659" sldId="1171"/>
        </pc:sldMkLst>
      </pc:sldChg>
      <pc:sldChg chg="del">
        <pc:chgData name="Stina Ru" userId="a298bcda0a73aae4" providerId="LiveId" clId="{B68A72C4-CD85-46BB-9451-89B241CD19AE}" dt="2022-11-21T22:31:39.298" v="2" actId="47"/>
        <pc:sldMkLst>
          <pc:docMk/>
          <pc:sldMk cId="230669161" sldId="1172"/>
        </pc:sldMkLst>
      </pc:sldChg>
      <pc:sldChg chg="del">
        <pc:chgData name="Stina Ru" userId="a298bcda0a73aae4" providerId="LiveId" clId="{B68A72C4-CD85-46BB-9451-89B241CD19AE}" dt="2022-11-21T22:31:39.837" v="3" actId="47"/>
        <pc:sldMkLst>
          <pc:docMk/>
          <pc:sldMk cId="925530439" sldId="1173"/>
        </pc:sldMkLst>
      </pc:sldChg>
      <pc:sldChg chg="del">
        <pc:chgData name="Stina Ru" userId="a298bcda0a73aae4" providerId="LiveId" clId="{B68A72C4-CD85-46BB-9451-89B241CD19AE}" dt="2022-11-21T22:31:41.950" v="7" actId="47"/>
        <pc:sldMkLst>
          <pc:docMk/>
          <pc:sldMk cId="1406652163" sldId="1176"/>
        </pc:sldMkLst>
      </pc:sldChg>
      <pc:sldChg chg="del">
        <pc:chgData name="Stina Ru" userId="a298bcda0a73aae4" providerId="LiveId" clId="{B68A72C4-CD85-46BB-9451-89B241CD19AE}" dt="2022-11-21T22:31:42.561" v="8" actId="47"/>
        <pc:sldMkLst>
          <pc:docMk/>
          <pc:sldMk cId="649540894" sldId="1177"/>
        </pc:sldMkLst>
      </pc:sldChg>
      <pc:sldChg chg="del">
        <pc:chgData name="Stina Ru" userId="a298bcda0a73aae4" providerId="LiveId" clId="{B68A72C4-CD85-46BB-9451-89B241CD19AE}" dt="2022-11-21T22:31:44.032" v="10" actId="47"/>
        <pc:sldMkLst>
          <pc:docMk/>
          <pc:sldMk cId="1818595926" sldId="1179"/>
        </pc:sldMkLst>
      </pc:sldChg>
      <pc:sldChg chg="del">
        <pc:chgData name="Stina Ru" userId="a298bcda0a73aae4" providerId="LiveId" clId="{B68A72C4-CD85-46BB-9451-89B241CD19AE}" dt="2022-11-21T22:31:44.691" v="11" actId="47"/>
        <pc:sldMkLst>
          <pc:docMk/>
          <pc:sldMk cId="1844519722" sldId="1180"/>
        </pc:sldMkLst>
      </pc:sldChg>
      <pc:sldChg chg="del">
        <pc:chgData name="Stina Ru" userId="a298bcda0a73aae4" providerId="LiveId" clId="{B68A72C4-CD85-46BB-9451-89B241CD19AE}" dt="2022-11-21T22:31:40.953" v="5" actId="47"/>
        <pc:sldMkLst>
          <pc:docMk/>
          <pc:sldMk cId="2461071583" sldId="1181"/>
        </pc:sldMkLst>
      </pc:sldChg>
      <pc:sldChg chg="del">
        <pc:chgData name="Stina Ru" userId="a298bcda0a73aae4" providerId="LiveId" clId="{B68A72C4-CD85-46BB-9451-89B241CD19AE}" dt="2022-11-21T22:31:41.465" v="6" actId="47"/>
        <pc:sldMkLst>
          <pc:docMk/>
          <pc:sldMk cId="1753963648" sldId="1182"/>
        </pc:sldMkLst>
      </pc:sldChg>
      <pc:sldChg chg="addSp delSp modSp mod ord modAnim">
        <pc:chgData name="Stina Ru" userId="a298bcda0a73aae4" providerId="LiveId" clId="{B68A72C4-CD85-46BB-9451-89B241CD19AE}" dt="2022-11-23T10:16:56.696" v="19485" actId="20577"/>
        <pc:sldMkLst>
          <pc:docMk/>
          <pc:sldMk cId="3348382561" sldId="1183"/>
        </pc:sldMkLst>
        <pc:spChg chg="add del mod">
          <ac:chgData name="Stina Ru" userId="a298bcda0a73aae4" providerId="LiveId" clId="{B68A72C4-CD85-46BB-9451-89B241CD19AE}" dt="2022-11-21T22:46:10.475" v="42"/>
          <ac:spMkLst>
            <pc:docMk/>
            <pc:sldMk cId="3348382561" sldId="1183"/>
            <ac:spMk id="2" creationId="{8B540808-E7D5-93D8-46E9-615F5C7AAB84}"/>
          </ac:spMkLst>
        </pc:spChg>
        <pc:spChg chg="add mod">
          <ac:chgData name="Stina Ru" userId="a298bcda0a73aae4" providerId="LiveId" clId="{B68A72C4-CD85-46BB-9451-89B241CD19AE}" dt="2022-11-22T21:45:26.961" v="17970" actId="14100"/>
          <ac:spMkLst>
            <pc:docMk/>
            <pc:sldMk cId="3348382561" sldId="1183"/>
            <ac:spMk id="3" creationId="{31BD3142-7370-CB95-30BD-8E361C1B982B}"/>
          </ac:spMkLst>
        </pc:spChg>
        <pc:spChg chg="add del mod">
          <ac:chgData name="Stina Ru" userId="a298bcda0a73aae4" providerId="LiveId" clId="{B68A72C4-CD85-46BB-9451-89B241CD19AE}" dt="2022-11-23T10:16:56.696" v="19485" actId="20577"/>
          <ac:spMkLst>
            <pc:docMk/>
            <pc:sldMk cId="3348382561" sldId="1183"/>
            <ac:spMk id="5" creationId="{7CE7E086-3D50-6181-49A8-C8B56A5DCCB2}"/>
          </ac:spMkLst>
        </pc:spChg>
        <pc:spChg chg="mod">
          <ac:chgData name="Stina Ru" userId="a298bcda0a73aae4" providerId="LiveId" clId="{B68A72C4-CD85-46BB-9451-89B241CD19AE}" dt="2022-11-21T22:35:02.671" v="39" actId="20577"/>
          <ac:spMkLst>
            <pc:docMk/>
            <pc:sldMk cId="3348382561" sldId="1183"/>
            <ac:spMk id="12" creationId="{13B203F9-1E27-4E57-902E-B40C20ADA7DF}"/>
          </ac:spMkLst>
        </pc:spChg>
        <pc:picChg chg="add mod">
          <ac:chgData name="Stina Ru" userId="a298bcda0a73aae4" providerId="LiveId" clId="{B68A72C4-CD85-46BB-9451-89B241CD19AE}" dt="2022-11-22T21:44:55.161" v="17963" actId="1076"/>
          <ac:picMkLst>
            <pc:docMk/>
            <pc:sldMk cId="3348382561" sldId="1183"/>
            <ac:picMk id="6" creationId="{42FDFABB-8CE8-F60D-0031-ABFB5BB4C74C}"/>
          </ac:picMkLst>
        </pc:picChg>
        <pc:picChg chg="del">
          <ac:chgData name="Stina Ru" userId="a298bcda0a73aae4" providerId="LiveId" clId="{B68A72C4-CD85-46BB-9451-89B241CD19AE}" dt="2022-11-21T23:09:45.755" v="490" actId="478"/>
          <ac:picMkLst>
            <pc:docMk/>
            <pc:sldMk cId="3348382561" sldId="1183"/>
            <ac:picMk id="14" creationId="{86D4CF5C-4CED-EB64-1F76-3156D3BA5AC9}"/>
          </ac:picMkLst>
        </pc:picChg>
      </pc:sldChg>
      <pc:sldChg chg="addSp delSp modSp mod delAnim modAnim">
        <pc:chgData name="Stina Ru" userId="a298bcda0a73aae4" providerId="LiveId" clId="{B68A72C4-CD85-46BB-9451-89B241CD19AE}" dt="2022-11-22T23:05:50.466" v="19041" actId="207"/>
        <pc:sldMkLst>
          <pc:docMk/>
          <pc:sldMk cId="2445152104" sldId="1184"/>
        </pc:sldMkLst>
        <pc:spChg chg="mod">
          <ac:chgData name="Stina Ru" userId="a298bcda0a73aae4" providerId="LiveId" clId="{B68A72C4-CD85-46BB-9451-89B241CD19AE}" dt="2022-11-22T23:05:50.466" v="19041" actId="207"/>
          <ac:spMkLst>
            <pc:docMk/>
            <pc:sldMk cId="2445152104" sldId="1184"/>
            <ac:spMk id="2" creationId="{2E8E55A0-73B3-4565-BA58-ACE5F64229D6}"/>
          </ac:spMkLst>
        </pc:spChg>
        <pc:picChg chg="add del mod">
          <ac:chgData name="Stina Ru" userId="a298bcda0a73aae4" providerId="LiveId" clId="{B68A72C4-CD85-46BB-9451-89B241CD19AE}" dt="2022-11-22T19:57:02.139" v="17799" actId="478"/>
          <ac:picMkLst>
            <pc:docMk/>
            <pc:sldMk cId="2445152104" sldId="1184"/>
            <ac:picMk id="3" creationId="{1AC3A69F-93CE-6364-977D-831701EC64D1}"/>
          </ac:picMkLst>
        </pc:picChg>
        <pc:picChg chg="add mod">
          <ac:chgData name="Stina Ru" userId="a298bcda0a73aae4" providerId="LiveId" clId="{B68A72C4-CD85-46BB-9451-89B241CD19AE}" dt="2022-11-22T19:57:10.254" v="17802" actId="1076"/>
          <ac:picMkLst>
            <pc:docMk/>
            <pc:sldMk cId="2445152104" sldId="1184"/>
            <ac:picMk id="7" creationId="{A183CBE6-CEFA-A259-F9EE-02998AE2B1B1}"/>
          </ac:picMkLst>
        </pc:picChg>
      </pc:sldChg>
      <pc:sldChg chg="del">
        <pc:chgData name="Stina Ru" userId="a298bcda0a73aae4" providerId="LiveId" clId="{B68A72C4-CD85-46BB-9451-89B241CD19AE}" dt="2022-11-22T19:24:19.850" v="15735" actId="47"/>
        <pc:sldMkLst>
          <pc:docMk/>
          <pc:sldMk cId="4102215908" sldId="1185"/>
        </pc:sldMkLst>
      </pc:sldChg>
      <pc:sldChg chg="delSp modSp del mod ord">
        <pc:chgData name="Stina Ru" userId="a298bcda0a73aae4" providerId="LiveId" clId="{B68A72C4-CD85-46BB-9451-89B241CD19AE}" dt="2022-11-22T12:49:05.882" v="2666" actId="47"/>
        <pc:sldMkLst>
          <pc:docMk/>
          <pc:sldMk cId="3878411933" sldId="1186"/>
        </pc:sldMkLst>
        <pc:spChg chg="mod">
          <ac:chgData name="Stina Ru" userId="a298bcda0a73aae4" providerId="LiveId" clId="{B68A72C4-CD85-46BB-9451-89B241CD19AE}" dt="2022-11-22T12:10:07.009" v="1714" actId="113"/>
          <ac:spMkLst>
            <pc:docMk/>
            <pc:sldMk cId="3878411933" sldId="1186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1T23:29:44.283" v="1110" actId="20577"/>
          <ac:spMkLst>
            <pc:docMk/>
            <pc:sldMk cId="3878411933" sldId="1186"/>
            <ac:spMk id="12" creationId="{13B203F9-1E27-4E57-902E-B40C20ADA7DF}"/>
          </ac:spMkLst>
        </pc:spChg>
        <pc:picChg chg="del">
          <ac:chgData name="Stina Ru" userId="a298bcda0a73aae4" providerId="LiveId" clId="{B68A72C4-CD85-46BB-9451-89B241CD19AE}" dt="2022-11-21T23:29:01.409" v="1098" actId="478"/>
          <ac:picMkLst>
            <pc:docMk/>
            <pc:sldMk cId="3878411933" sldId="1186"/>
            <ac:picMk id="2" creationId="{A89FD85C-00EB-0A08-38B1-69920B15AD70}"/>
          </ac:picMkLst>
        </pc:picChg>
        <pc:picChg chg="del">
          <ac:chgData name="Stina Ru" userId="a298bcda0a73aae4" providerId="LiveId" clId="{B68A72C4-CD85-46BB-9451-89B241CD19AE}" dt="2022-11-21T23:29:03.591" v="1099" actId="478"/>
          <ac:picMkLst>
            <pc:docMk/>
            <pc:sldMk cId="3878411933" sldId="1186"/>
            <ac:picMk id="3" creationId="{D23ADB76-8705-97AB-76C2-79F0C170B5C4}"/>
          </ac:picMkLst>
        </pc:picChg>
      </pc:sldChg>
      <pc:sldChg chg="addSp delSp modSp mod delAnim modAnim">
        <pc:chgData name="Stina Ru" userId="a298bcda0a73aae4" providerId="LiveId" clId="{B68A72C4-CD85-46BB-9451-89B241CD19AE}" dt="2022-11-23T10:24:59.802" v="19527"/>
        <pc:sldMkLst>
          <pc:docMk/>
          <pc:sldMk cId="253087202" sldId="1188"/>
        </pc:sldMkLst>
        <pc:spChg chg="mod">
          <ac:chgData name="Stina Ru" userId="a298bcda0a73aae4" providerId="LiveId" clId="{B68A72C4-CD85-46BB-9451-89B241CD19AE}" dt="2022-11-22T13:24:32.408" v="3785" actId="1076"/>
          <ac:spMkLst>
            <pc:docMk/>
            <pc:sldMk cId="253087202" sldId="1188"/>
            <ac:spMk id="5" creationId="{B3094BE0-EF0F-81BD-993B-B8FF8CB444E4}"/>
          </ac:spMkLst>
        </pc:spChg>
        <pc:spChg chg="mod">
          <ac:chgData name="Stina Ru" userId="a298bcda0a73aae4" providerId="LiveId" clId="{B68A72C4-CD85-46BB-9451-89B241CD19AE}" dt="2022-11-23T10:22:40.888" v="19509" actId="122"/>
          <ac:spMkLst>
            <pc:docMk/>
            <pc:sldMk cId="253087202" sldId="1188"/>
            <ac:spMk id="6" creationId="{070F7C74-9112-406B-A0CC-08F6DDA1D2AF}"/>
          </ac:spMkLst>
        </pc:spChg>
        <pc:spChg chg="add del">
          <ac:chgData name="Stina Ru" userId="a298bcda0a73aae4" providerId="LiveId" clId="{B68A72C4-CD85-46BB-9451-89B241CD19AE}" dt="2022-11-22T12:48:09.415" v="2656" actId="22"/>
          <ac:spMkLst>
            <pc:docMk/>
            <pc:sldMk cId="253087202" sldId="1188"/>
            <ac:spMk id="7" creationId="{0C5FD6AB-4DD6-8FA8-1013-BD845A65ED03}"/>
          </ac:spMkLst>
        </pc:spChg>
        <pc:spChg chg="del mod">
          <ac:chgData name="Stina Ru" userId="a298bcda0a73aae4" providerId="LiveId" clId="{B68A72C4-CD85-46BB-9451-89B241CD19AE}" dt="2022-11-22T13:01:59.950" v="3069" actId="478"/>
          <ac:spMkLst>
            <pc:docMk/>
            <pc:sldMk cId="253087202" sldId="1188"/>
            <ac:spMk id="9" creationId="{82FBFD83-3160-02BE-F06B-1E68DE94B0A5}"/>
          </ac:spMkLst>
        </pc:spChg>
        <pc:spChg chg="add del mod">
          <ac:chgData name="Stina Ru" userId="a298bcda0a73aae4" providerId="LiveId" clId="{B68A72C4-CD85-46BB-9451-89B241CD19AE}" dt="2022-11-22T12:54:30.402" v="2893" actId="478"/>
          <ac:spMkLst>
            <pc:docMk/>
            <pc:sldMk cId="253087202" sldId="1188"/>
            <ac:spMk id="10" creationId="{81B39BF8-D6B2-A339-164F-BAF4E63C9C8C}"/>
          </ac:spMkLst>
        </pc:spChg>
        <pc:spChg chg="del mod">
          <ac:chgData name="Stina Ru" userId="a298bcda0a73aae4" providerId="LiveId" clId="{B68A72C4-CD85-46BB-9451-89B241CD19AE}" dt="2022-11-22T13:02:02.897" v="3070" actId="478"/>
          <ac:spMkLst>
            <pc:docMk/>
            <pc:sldMk cId="253087202" sldId="1188"/>
            <ac:spMk id="11" creationId="{5BD88881-B49F-A319-705C-E43AF709FCE5}"/>
          </ac:spMkLst>
        </pc:spChg>
        <pc:spChg chg="mod">
          <ac:chgData name="Stina Ru" userId="a298bcda0a73aae4" providerId="LiveId" clId="{B68A72C4-CD85-46BB-9451-89B241CD19AE}" dt="2022-11-22T12:53:24.657" v="2830" actId="20577"/>
          <ac:spMkLst>
            <pc:docMk/>
            <pc:sldMk cId="253087202" sldId="1188"/>
            <ac:spMk id="12" creationId="{13B203F9-1E27-4E57-902E-B40C20ADA7DF}"/>
          </ac:spMkLst>
        </pc:spChg>
        <pc:spChg chg="add mod">
          <ac:chgData name="Stina Ru" userId="a298bcda0a73aae4" providerId="LiveId" clId="{B68A72C4-CD85-46BB-9451-89B241CD19AE}" dt="2022-11-22T13:24:40.562" v="3786" actId="1076"/>
          <ac:spMkLst>
            <pc:docMk/>
            <pc:sldMk cId="253087202" sldId="1188"/>
            <ac:spMk id="14" creationId="{CE15C0CB-02DC-29F5-5788-43809BB1A255}"/>
          </ac:spMkLst>
        </pc:spChg>
        <pc:spChg chg="add mod">
          <ac:chgData name="Stina Ru" userId="a298bcda0a73aae4" providerId="LiveId" clId="{B68A72C4-CD85-46BB-9451-89B241CD19AE}" dt="2022-11-22T13:24:46.850" v="3787" actId="1076"/>
          <ac:spMkLst>
            <pc:docMk/>
            <pc:sldMk cId="253087202" sldId="1188"/>
            <ac:spMk id="15" creationId="{EEE7B17F-D53A-C315-7450-7397E202DD58}"/>
          </ac:spMkLst>
        </pc:spChg>
        <pc:spChg chg="add mod">
          <ac:chgData name="Stina Ru" userId="a298bcda0a73aae4" providerId="LiveId" clId="{B68A72C4-CD85-46BB-9451-89B241CD19AE}" dt="2022-11-23T10:23:03.257" v="19512" actId="113"/>
          <ac:spMkLst>
            <pc:docMk/>
            <pc:sldMk cId="253087202" sldId="1188"/>
            <ac:spMk id="16" creationId="{14F19550-54BC-5023-67C1-96B0F12C6D5B}"/>
          </ac:spMkLst>
        </pc:spChg>
        <pc:picChg chg="del">
          <ac:chgData name="Stina Ru" userId="a298bcda0a73aae4" providerId="LiveId" clId="{B68A72C4-CD85-46BB-9451-89B241CD19AE}" dt="2022-11-22T12:54:14.491" v="2891" actId="478"/>
          <ac:picMkLst>
            <pc:docMk/>
            <pc:sldMk cId="253087202" sldId="1188"/>
            <ac:picMk id="3" creationId="{03DF859A-8067-151E-3ABB-01FF63170F11}"/>
          </ac:picMkLst>
        </pc:picChg>
      </pc:sldChg>
      <pc:sldChg chg="delSp modSp mod ord">
        <pc:chgData name="Stina Ru" userId="a298bcda0a73aae4" providerId="LiveId" clId="{B68A72C4-CD85-46BB-9451-89B241CD19AE}" dt="2022-11-23T11:05:14.949" v="19767" actId="113"/>
        <pc:sldMkLst>
          <pc:docMk/>
          <pc:sldMk cId="2699578356" sldId="1189"/>
        </pc:sldMkLst>
        <pc:spChg chg="mod">
          <ac:chgData name="Stina Ru" userId="a298bcda0a73aae4" providerId="LiveId" clId="{B68A72C4-CD85-46BB-9451-89B241CD19AE}" dt="2022-11-23T11:05:14.949" v="19767" actId="113"/>
          <ac:spMkLst>
            <pc:docMk/>
            <pc:sldMk cId="2699578356" sldId="1189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2:12:20.135" v="1753" actId="20577"/>
          <ac:spMkLst>
            <pc:docMk/>
            <pc:sldMk cId="2699578356" sldId="1189"/>
            <ac:spMk id="12" creationId="{13B203F9-1E27-4E57-902E-B40C20ADA7DF}"/>
          </ac:spMkLst>
        </pc:spChg>
        <pc:picChg chg="mod">
          <ac:chgData name="Stina Ru" userId="a298bcda0a73aae4" providerId="LiveId" clId="{B68A72C4-CD85-46BB-9451-89B241CD19AE}" dt="2022-11-22T12:28:47.615" v="2276" actId="1076"/>
          <ac:picMkLst>
            <pc:docMk/>
            <pc:sldMk cId="2699578356" sldId="1189"/>
            <ac:picMk id="3" creationId="{262C911B-4570-2234-FD44-069F0716F971}"/>
          </ac:picMkLst>
        </pc:picChg>
        <pc:picChg chg="mod">
          <ac:chgData name="Stina Ru" userId="a298bcda0a73aae4" providerId="LiveId" clId="{B68A72C4-CD85-46BB-9451-89B241CD19AE}" dt="2022-11-22T12:28:32.447" v="2275" actId="1076"/>
          <ac:picMkLst>
            <pc:docMk/>
            <pc:sldMk cId="2699578356" sldId="1189"/>
            <ac:picMk id="7" creationId="{31C0E3EE-B2BC-1703-A482-5FEC88393ED9}"/>
          </ac:picMkLst>
        </pc:picChg>
        <pc:picChg chg="del">
          <ac:chgData name="Stina Ru" userId="a298bcda0a73aae4" providerId="LiveId" clId="{B68A72C4-CD85-46BB-9451-89B241CD19AE}" dt="2022-11-22T12:28:23.241" v="2273" actId="478"/>
          <ac:picMkLst>
            <pc:docMk/>
            <pc:sldMk cId="2699578356" sldId="1189"/>
            <ac:picMk id="14" creationId="{86D4CF5C-4CED-EB64-1F76-3156D3BA5AC9}"/>
          </ac:picMkLst>
        </pc:picChg>
      </pc:sldChg>
      <pc:sldChg chg="del">
        <pc:chgData name="Stina Ru" userId="a298bcda0a73aae4" providerId="LiveId" clId="{B68A72C4-CD85-46BB-9451-89B241CD19AE}" dt="2022-11-22T15:22:41.267" v="6611" actId="47"/>
        <pc:sldMkLst>
          <pc:docMk/>
          <pc:sldMk cId="3641611588" sldId="1190"/>
        </pc:sldMkLst>
      </pc:sldChg>
      <pc:sldChg chg="del">
        <pc:chgData name="Stina Ru" userId="a298bcda0a73aae4" providerId="LiveId" clId="{B68A72C4-CD85-46BB-9451-89B241CD19AE}" dt="2022-11-22T19:43:32.940" v="17245" actId="47"/>
        <pc:sldMkLst>
          <pc:docMk/>
          <pc:sldMk cId="1326297582" sldId="1191"/>
        </pc:sldMkLst>
      </pc:sldChg>
      <pc:sldChg chg="del">
        <pc:chgData name="Stina Ru" userId="a298bcda0a73aae4" providerId="LiveId" clId="{B68A72C4-CD85-46BB-9451-89B241CD19AE}" dt="2022-11-21T22:31:43.078" v="9" actId="47"/>
        <pc:sldMkLst>
          <pc:docMk/>
          <pc:sldMk cId="2067552496" sldId="1192"/>
        </pc:sldMkLst>
      </pc:sldChg>
      <pc:sldChg chg="del">
        <pc:chgData name="Stina Ru" userId="a298bcda0a73aae4" providerId="LiveId" clId="{B68A72C4-CD85-46BB-9451-89B241CD19AE}" dt="2022-11-22T19:24:24.982" v="15736" actId="47"/>
        <pc:sldMkLst>
          <pc:docMk/>
          <pc:sldMk cId="2815082113" sldId="1193"/>
        </pc:sldMkLst>
      </pc:sldChg>
      <pc:sldChg chg="addSp delSp modSp add mod ord">
        <pc:chgData name="Stina Ru" userId="a298bcda0a73aae4" providerId="LiveId" clId="{B68A72C4-CD85-46BB-9451-89B241CD19AE}" dt="2022-11-22T12:40:51.903" v="2369" actId="20577"/>
        <pc:sldMkLst>
          <pc:docMk/>
          <pc:sldMk cId="3346942873" sldId="1194"/>
        </pc:sldMkLst>
        <pc:spChg chg="add del mod">
          <ac:chgData name="Stina Ru" userId="a298bcda0a73aae4" providerId="LiveId" clId="{B68A72C4-CD85-46BB-9451-89B241CD19AE}" dt="2022-11-22T12:40:51.903" v="2369" actId="20577"/>
          <ac:spMkLst>
            <pc:docMk/>
            <pc:sldMk cId="3346942873" sldId="1194"/>
            <ac:spMk id="6" creationId="{070F7C74-9112-406B-A0CC-08F6DDA1D2AF}"/>
          </ac:spMkLst>
        </pc:spChg>
        <pc:spChg chg="add del mod">
          <ac:chgData name="Stina Ru" userId="a298bcda0a73aae4" providerId="LiveId" clId="{B68A72C4-CD85-46BB-9451-89B241CD19AE}" dt="2022-11-21T23:20:46.134" v="659" actId="478"/>
          <ac:spMkLst>
            <pc:docMk/>
            <pc:sldMk cId="3346942873" sldId="1194"/>
            <ac:spMk id="7" creationId="{8B9D01A7-782D-044A-2A43-A223FCEF33F8}"/>
          </ac:spMkLst>
        </pc:spChg>
        <pc:spChg chg="mod">
          <ac:chgData name="Stina Ru" userId="a298bcda0a73aae4" providerId="LiveId" clId="{B68A72C4-CD85-46BB-9451-89B241CD19AE}" dt="2022-11-22T12:38:46.955" v="2341" actId="20577"/>
          <ac:spMkLst>
            <pc:docMk/>
            <pc:sldMk cId="3346942873" sldId="1194"/>
            <ac:spMk id="12" creationId="{13B203F9-1E27-4E57-902E-B40C20ADA7DF}"/>
          </ac:spMkLst>
        </pc:spChg>
        <pc:picChg chg="del">
          <ac:chgData name="Stina Ru" userId="a298bcda0a73aae4" providerId="LiveId" clId="{B68A72C4-CD85-46BB-9451-89B241CD19AE}" dt="2022-11-21T23:20:55.974" v="662" actId="478"/>
          <ac:picMkLst>
            <pc:docMk/>
            <pc:sldMk cId="3346942873" sldId="1194"/>
            <ac:picMk id="2" creationId="{A89FD85C-00EB-0A08-38B1-69920B15AD70}"/>
          </ac:picMkLst>
        </pc:picChg>
        <pc:picChg chg="del">
          <ac:chgData name="Stina Ru" userId="a298bcda0a73aae4" providerId="LiveId" clId="{B68A72C4-CD85-46BB-9451-89B241CD19AE}" dt="2022-11-21T23:20:58.040" v="663" actId="478"/>
          <ac:picMkLst>
            <pc:docMk/>
            <pc:sldMk cId="3346942873" sldId="1194"/>
            <ac:picMk id="3" creationId="{D23ADB76-8705-97AB-76C2-79F0C170B5C4}"/>
          </ac:picMkLst>
        </pc:picChg>
        <pc:picChg chg="del">
          <ac:chgData name="Stina Ru" userId="a298bcda0a73aae4" providerId="LiveId" clId="{B68A72C4-CD85-46BB-9451-89B241CD19AE}" dt="2022-11-21T23:21:32.435" v="721" actId="478"/>
          <ac:picMkLst>
            <pc:docMk/>
            <pc:sldMk cId="3346942873" sldId="1194"/>
            <ac:picMk id="14" creationId="{86D4CF5C-4CED-EB64-1F76-3156D3BA5AC9}"/>
          </ac:picMkLst>
        </pc:picChg>
      </pc:sldChg>
      <pc:sldChg chg="modSp add del mod ord">
        <pc:chgData name="Stina Ru" userId="a298bcda0a73aae4" providerId="LiveId" clId="{B68A72C4-CD85-46BB-9451-89B241CD19AE}" dt="2022-11-22T12:49:12.648" v="2667" actId="47"/>
        <pc:sldMkLst>
          <pc:docMk/>
          <pc:sldMk cId="158892236" sldId="1195"/>
        </pc:sldMkLst>
        <pc:spChg chg="mod">
          <ac:chgData name="Stina Ru" userId="a298bcda0a73aae4" providerId="LiveId" clId="{B68A72C4-CD85-46BB-9451-89B241CD19AE}" dt="2022-11-22T12:11:50.585" v="1729" actId="20577"/>
          <ac:spMkLst>
            <pc:docMk/>
            <pc:sldMk cId="158892236" sldId="1195"/>
            <ac:spMk id="12" creationId="{13B203F9-1E27-4E57-902E-B40C20ADA7DF}"/>
          </ac:spMkLst>
        </pc:spChg>
      </pc:sldChg>
      <pc:sldChg chg="modSp add mod">
        <pc:chgData name="Stina Ru" userId="a298bcda0a73aae4" providerId="LiveId" clId="{B68A72C4-CD85-46BB-9451-89B241CD19AE}" dt="2022-11-22T21:40:53.205" v="17960" actId="113"/>
        <pc:sldMkLst>
          <pc:docMk/>
          <pc:sldMk cId="503688294" sldId="1196"/>
        </pc:sldMkLst>
        <pc:spChg chg="mod">
          <ac:chgData name="Stina Ru" userId="a298bcda0a73aae4" providerId="LiveId" clId="{B68A72C4-CD85-46BB-9451-89B241CD19AE}" dt="2022-11-22T21:40:53.205" v="17960" actId="113"/>
          <ac:spMkLst>
            <pc:docMk/>
            <pc:sldMk cId="503688294" sldId="1196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2:43:27.057" v="2452" actId="1076"/>
          <ac:spMkLst>
            <pc:docMk/>
            <pc:sldMk cId="503688294" sldId="1196"/>
            <ac:spMk id="12" creationId="{13B203F9-1E27-4E57-902E-B40C20ADA7DF}"/>
          </ac:spMkLst>
        </pc:spChg>
      </pc:sldChg>
      <pc:sldChg chg="modSp add del mod">
        <pc:chgData name="Stina Ru" userId="a298bcda0a73aae4" providerId="LiveId" clId="{B68A72C4-CD85-46BB-9451-89B241CD19AE}" dt="2022-11-22T23:05:53.467" v="19042" actId="47"/>
        <pc:sldMkLst>
          <pc:docMk/>
          <pc:sldMk cId="2688589757" sldId="1197"/>
        </pc:sldMkLst>
        <pc:spChg chg="mod">
          <ac:chgData name="Stina Ru" userId="a298bcda0a73aae4" providerId="LiveId" clId="{B68A72C4-CD85-46BB-9451-89B241CD19AE}" dt="2022-11-22T12:49:35.491" v="2670" actId="1076"/>
          <ac:spMkLst>
            <pc:docMk/>
            <pc:sldMk cId="2688589757" sldId="1197"/>
            <ac:spMk id="2" creationId="{2E8E55A0-73B3-4565-BA58-ACE5F64229D6}"/>
          </ac:spMkLst>
        </pc:spChg>
      </pc:sldChg>
      <pc:sldChg chg="modSp add del mod">
        <pc:chgData name="Stina Ru" userId="a298bcda0a73aae4" providerId="LiveId" clId="{B68A72C4-CD85-46BB-9451-89B241CD19AE}" dt="2022-11-22T23:06:12.973" v="19046" actId="47"/>
        <pc:sldMkLst>
          <pc:docMk/>
          <pc:sldMk cId="135833020" sldId="1198"/>
        </pc:sldMkLst>
        <pc:spChg chg="mod">
          <ac:chgData name="Stina Ru" userId="a298bcda0a73aae4" providerId="LiveId" clId="{B68A72C4-CD85-46BB-9451-89B241CD19AE}" dt="2022-11-22T12:49:28.053" v="2668" actId="1076"/>
          <ac:spMkLst>
            <pc:docMk/>
            <pc:sldMk cId="135833020" sldId="1198"/>
            <ac:spMk id="2" creationId="{2E8E55A0-73B3-4565-BA58-ACE5F64229D6}"/>
          </ac:spMkLst>
        </pc:spChg>
      </pc:sldChg>
      <pc:sldChg chg="modSp add del mod">
        <pc:chgData name="Stina Ru" userId="a298bcda0a73aae4" providerId="LiveId" clId="{B68A72C4-CD85-46BB-9451-89B241CD19AE}" dt="2022-11-22T18:31:09.787" v="12308" actId="47"/>
        <pc:sldMkLst>
          <pc:docMk/>
          <pc:sldMk cId="2147104571" sldId="1199"/>
        </pc:sldMkLst>
        <pc:spChg chg="mod">
          <ac:chgData name="Stina Ru" userId="a298bcda0a73aae4" providerId="LiveId" clId="{B68A72C4-CD85-46BB-9451-89B241CD19AE}" dt="2022-11-22T12:52:57.654" v="2814" actId="20577"/>
          <ac:spMkLst>
            <pc:docMk/>
            <pc:sldMk cId="2147104571" sldId="1199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2:52:47.541" v="2800" actId="20577"/>
          <ac:spMkLst>
            <pc:docMk/>
            <pc:sldMk cId="2147104571" sldId="1199"/>
            <ac:spMk id="12" creationId="{13B203F9-1E27-4E57-902E-B40C20ADA7DF}"/>
          </ac:spMkLst>
        </pc:spChg>
      </pc:sldChg>
      <pc:sldChg chg="addSp delSp modSp add mod addAnim delAnim modAnim">
        <pc:chgData name="Stina Ru" userId="a298bcda0a73aae4" providerId="LiveId" clId="{B68A72C4-CD85-46BB-9451-89B241CD19AE}" dt="2022-11-23T10:30:12.108" v="19559" actId="20577"/>
        <pc:sldMkLst>
          <pc:docMk/>
          <pc:sldMk cId="3349756669" sldId="1200"/>
        </pc:sldMkLst>
        <pc:spChg chg="add del mod">
          <ac:chgData name="Stina Ru" userId="a298bcda0a73aae4" providerId="LiveId" clId="{B68A72C4-CD85-46BB-9451-89B241CD19AE}" dt="2022-11-22T20:02:55.805" v="17862" actId="478"/>
          <ac:spMkLst>
            <pc:docMk/>
            <pc:sldMk cId="3349756669" sldId="1200"/>
            <ac:spMk id="2" creationId="{FA1930E0-555C-349E-DB49-AC2745292210}"/>
          </ac:spMkLst>
        </pc:spChg>
        <pc:spChg chg="del">
          <ac:chgData name="Stina Ru" userId="a298bcda0a73aae4" providerId="LiveId" clId="{B68A72C4-CD85-46BB-9451-89B241CD19AE}" dt="2022-11-22T13:32:21.948" v="4129" actId="478"/>
          <ac:spMkLst>
            <pc:docMk/>
            <pc:sldMk cId="3349756669" sldId="1200"/>
            <ac:spMk id="5" creationId="{B3094BE0-EF0F-81BD-993B-B8FF8CB444E4}"/>
          </ac:spMkLst>
        </pc:spChg>
        <pc:spChg chg="mod">
          <ac:chgData name="Stina Ru" userId="a298bcda0a73aae4" providerId="LiveId" clId="{B68A72C4-CD85-46BB-9451-89B241CD19AE}" dt="2022-11-23T10:30:12.108" v="19559" actId="20577"/>
          <ac:spMkLst>
            <pc:docMk/>
            <pc:sldMk cId="3349756669" sldId="1200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3:28:53.425" v="4055" actId="20577"/>
          <ac:spMkLst>
            <pc:docMk/>
            <pc:sldMk cId="3349756669" sldId="1200"/>
            <ac:spMk id="12" creationId="{13B203F9-1E27-4E57-902E-B40C20ADA7DF}"/>
          </ac:spMkLst>
        </pc:spChg>
        <pc:spChg chg="del">
          <ac:chgData name="Stina Ru" userId="a298bcda0a73aae4" providerId="LiveId" clId="{B68A72C4-CD85-46BB-9451-89B241CD19AE}" dt="2022-11-22T13:32:26.049" v="4130" actId="478"/>
          <ac:spMkLst>
            <pc:docMk/>
            <pc:sldMk cId="3349756669" sldId="1200"/>
            <ac:spMk id="14" creationId="{CE15C0CB-02DC-29F5-5788-43809BB1A255}"/>
          </ac:spMkLst>
        </pc:spChg>
        <pc:spChg chg="add del mod">
          <ac:chgData name="Stina Ru" userId="a298bcda0a73aae4" providerId="LiveId" clId="{B68A72C4-CD85-46BB-9451-89B241CD19AE}" dt="2022-11-22T20:02:53.985" v="17861" actId="478"/>
          <ac:spMkLst>
            <pc:docMk/>
            <pc:sldMk cId="3349756669" sldId="1200"/>
            <ac:spMk id="15" creationId="{EEE7B17F-D53A-C315-7450-7397E202DD58}"/>
          </ac:spMkLst>
        </pc:spChg>
        <pc:spChg chg="del">
          <ac:chgData name="Stina Ru" userId="a298bcda0a73aae4" providerId="LiveId" clId="{B68A72C4-CD85-46BB-9451-89B241CD19AE}" dt="2022-11-22T13:32:28.933" v="4131" actId="478"/>
          <ac:spMkLst>
            <pc:docMk/>
            <pc:sldMk cId="3349756669" sldId="1200"/>
            <ac:spMk id="16" creationId="{14F19550-54BC-5023-67C1-96B0F12C6D5B}"/>
          </ac:spMkLst>
        </pc:spChg>
        <pc:picChg chg="add mod">
          <ac:chgData name="Stina Ru" userId="a298bcda0a73aae4" providerId="LiveId" clId="{B68A72C4-CD85-46BB-9451-89B241CD19AE}" dt="2022-11-22T20:03:47.955" v="17875" actId="1076"/>
          <ac:picMkLst>
            <pc:docMk/>
            <pc:sldMk cId="3349756669" sldId="1200"/>
            <ac:picMk id="5" creationId="{06E08770-493F-491A-77DC-688C93C19725}"/>
          </ac:picMkLst>
        </pc:picChg>
      </pc:sldChg>
      <pc:sldChg chg="addSp delSp modSp add mod delAnim modAnim">
        <pc:chgData name="Stina Ru" userId="a298bcda0a73aae4" providerId="LiveId" clId="{B68A72C4-CD85-46BB-9451-89B241CD19AE}" dt="2022-11-23T10:32:54.975" v="19603" actId="20577"/>
        <pc:sldMkLst>
          <pc:docMk/>
          <pc:sldMk cId="1185479838" sldId="1201"/>
        </pc:sldMkLst>
        <pc:spChg chg="del">
          <ac:chgData name="Stina Ru" userId="a298bcda0a73aae4" providerId="LiveId" clId="{B68A72C4-CD85-46BB-9451-89B241CD19AE}" dt="2022-11-22T13:48:00.417" v="4613" actId="478"/>
          <ac:spMkLst>
            <pc:docMk/>
            <pc:sldMk cId="1185479838" sldId="1201"/>
            <ac:spMk id="2" creationId="{FA1930E0-555C-349E-DB49-AC2745292210}"/>
          </ac:spMkLst>
        </pc:spChg>
        <pc:spChg chg="mod">
          <ac:chgData name="Stina Ru" userId="a298bcda0a73aae4" providerId="LiveId" clId="{B68A72C4-CD85-46BB-9451-89B241CD19AE}" dt="2022-11-23T10:32:54.975" v="19603" actId="20577"/>
          <ac:spMkLst>
            <pc:docMk/>
            <pc:sldMk cId="1185479838" sldId="1201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5:03:25.967" v="5583" actId="1076"/>
          <ac:spMkLst>
            <pc:docMk/>
            <pc:sldMk cId="1185479838" sldId="1201"/>
            <ac:spMk id="12" creationId="{13B203F9-1E27-4E57-902E-B40C20ADA7DF}"/>
          </ac:spMkLst>
        </pc:spChg>
        <pc:spChg chg="del">
          <ac:chgData name="Stina Ru" userId="a298bcda0a73aae4" providerId="LiveId" clId="{B68A72C4-CD85-46BB-9451-89B241CD19AE}" dt="2022-11-22T13:47:58.212" v="4612" actId="478"/>
          <ac:spMkLst>
            <pc:docMk/>
            <pc:sldMk cId="1185479838" sldId="1201"/>
            <ac:spMk id="15" creationId="{EEE7B17F-D53A-C315-7450-7397E202DD58}"/>
          </ac:spMkLst>
        </pc:spChg>
        <pc:picChg chg="add mod">
          <ac:chgData name="Stina Ru" userId="a298bcda0a73aae4" providerId="LiveId" clId="{B68A72C4-CD85-46BB-9451-89B241CD19AE}" dt="2022-11-22T20:03:43.829" v="17874" actId="1076"/>
          <ac:picMkLst>
            <pc:docMk/>
            <pc:sldMk cId="1185479838" sldId="1201"/>
            <ac:picMk id="2" creationId="{06211389-2BA5-8D4D-84D8-D2030CD0306A}"/>
          </ac:picMkLst>
        </pc:picChg>
      </pc:sldChg>
      <pc:sldChg chg="modSp add mod">
        <pc:chgData name="Stina Ru" userId="a298bcda0a73aae4" providerId="LiveId" clId="{B68A72C4-CD85-46BB-9451-89B241CD19AE}" dt="2022-11-22T22:05:17.252" v="18442" actId="1076"/>
        <pc:sldMkLst>
          <pc:docMk/>
          <pc:sldMk cId="3700317459" sldId="1202"/>
        </pc:sldMkLst>
        <pc:spChg chg="mod">
          <ac:chgData name="Stina Ru" userId="a298bcda0a73aae4" providerId="LiveId" clId="{B68A72C4-CD85-46BB-9451-89B241CD19AE}" dt="2022-11-22T22:05:06.161" v="18441" actId="20577"/>
          <ac:spMkLst>
            <pc:docMk/>
            <pc:sldMk cId="3700317459" sldId="1202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8:47:53.495" v="13082" actId="20577"/>
          <ac:spMkLst>
            <pc:docMk/>
            <pc:sldMk cId="3700317459" sldId="1202"/>
            <ac:spMk id="12" creationId="{13B203F9-1E27-4E57-902E-B40C20ADA7DF}"/>
          </ac:spMkLst>
        </pc:spChg>
        <pc:picChg chg="mod">
          <ac:chgData name="Stina Ru" userId="a298bcda0a73aae4" providerId="LiveId" clId="{B68A72C4-CD85-46BB-9451-89B241CD19AE}" dt="2022-11-22T22:05:17.252" v="18442" actId="1076"/>
          <ac:picMkLst>
            <pc:docMk/>
            <pc:sldMk cId="3700317459" sldId="1202"/>
            <ac:picMk id="3" creationId="{262C911B-4570-2234-FD44-069F0716F971}"/>
          </ac:picMkLst>
        </pc:picChg>
        <pc:picChg chg="mod">
          <ac:chgData name="Stina Ru" userId="a298bcda0a73aae4" providerId="LiveId" clId="{B68A72C4-CD85-46BB-9451-89B241CD19AE}" dt="2022-11-22T15:19:02.486" v="6524" actId="1076"/>
          <ac:picMkLst>
            <pc:docMk/>
            <pc:sldMk cId="3700317459" sldId="1202"/>
            <ac:picMk id="7" creationId="{31C0E3EE-B2BC-1703-A482-5FEC88393ED9}"/>
          </ac:picMkLst>
        </pc:picChg>
      </pc:sldChg>
      <pc:sldChg chg="addSp delSp modSp add mod modAnim">
        <pc:chgData name="Stina Ru" userId="a298bcda0a73aae4" providerId="LiveId" clId="{B68A72C4-CD85-46BB-9451-89B241CD19AE}" dt="2022-11-22T23:58:03.589" v="19223" actId="14100"/>
        <pc:sldMkLst>
          <pc:docMk/>
          <pc:sldMk cId="3905459325" sldId="1203"/>
        </pc:sldMkLst>
        <pc:spChg chg="mod">
          <ac:chgData name="Stina Ru" userId="a298bcda0a73aae4" providerId="LiveId" clId="{B68A72C4-CD85-46BB-9451-89B241CD19AE}" dt="2022-11-22T23:16:22.632" v="19107" actId="1076"/>
          <ac:spMkLst>
            <pc:docMk/>
            <pc:sldMk cId="3905459325" sldId="1203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8:48:00.890" v="13090" actId="20577"/>
          <ac:spMkLst>
            <pc:docMk/>
            <pc:sldMk cId="3905459325" sldId="1203"/>
            <ac:spMk id="12" creationId="{13B203F9-1E27-4E57-902E-B40C20ADA7DF}"/>
          </ac:spMkLst>
        </pc:spChg>
        <pc:spChg chg="add mod">
          <ac:chgData name="Stina Ru" userId="a298bcda0a73aae4" providerId="LiveId" clId="{B68A72C4-CD85-46BB-9451-89B241CD19AE}" dt="2022-11-22T23:13:16.267" v="19056" actId="14100"/>
          <ac:spMkLst>
            <pc:docMk/>
            <pc:sldMk cId="3905459325" sldId="1203"/>
            <ac:spMk id="15" creationId="{BC5BE611-7CAE-FFE8-2B6C-A5B7AC5ED894}"/>
          </ac:spMkLst>
        </pc:spChg>
        <pc:spChg chg="add mod">
          <ac:chgData name="Stina Ru" userId="a298bcda0a73aae4" providerId="LiveId" clId="{B68A72C4-CD85-46BB-9451-89B241CD19AE}" dt="2022-11-22T23:57:35.570" v="19176" actId="313"/>
          <ac:spMkLst>
            <pc:docMk/>
            <pc:sldMk cId="3905459325" sldId="1203"/>
            <ac:spMk id="16" creationId="{ED76BF35-C1EB-6039-BD4F-BE3D2D0B538F}"/>
          </ac:spMkLst>
        </pc:spChg>
        <pc:spChg chg="add mod">
          <ac:chgData name="Stina Ru" userId="a298bcda0a73aae4" providerId="LiveId" clId="{B68A72C4-CD85-46BB-9451-89B241CD19AE}" dt="2022-11-22T23:14:21.914" v="19075" actId="113"/>
          <ac:spMkLst>
            <pc:docMk/>
            <pc:sldMk cId="3905459325" sldId="1203"/>
            <ac:spMk id="17" creationId="{8017CCF4-F135-0EEF-DED1-575CCA1324EE}"/>
          </ac:spMkLst>
        </pc:spChg>
        <pc:spChg chg="add mod">
          <ac:chgData name="Stina Ru" userId="a298bcda0a73aae4" providerId="LiveId" clId="{B68A72C4-CD85-46BB-9451-89B241CD19AE}" dt="2022-11-22T23:13:31.770" v="19063" actId="113"/>
          <ac:spMkLst>
            <pc:docMk/>
            <pc:sldMk cId="3905459325" sldId="1203"/>
            <ac:spMk id="18" creationId="{87333857-E04C-BEF6-6CA0-FA265C834A32}"/>
          </ac:spMkLst>
        </pc:spChg>
        <pc:spChg chg="add mod">
          <ac:chgData name="Stina Ru" userId="a298bcda0a73aae4" providerId="LiveId" clId="{B68A72C4-CD85-46BB-9451-89B241CD19AE}" dt="2022-11-22T23:15:14.952" v="19085" actId="14100"/>
          <ac:spMkLst>
            <pc:docMk/>
            <pc:sldMk cId="3905459325" sldId="1203"/>
            <ac:spMk id="19" creationId="{166DD873-FDB0-E26B-3FF9-70902D6F2BD5}"/>
          </ac:spMkLst>
        </pc:spChg>
        <pc:spChg chg="add mod">
          <ac:chgData name="Stina Ru" userId="a298bcda0a73aae4" providerId="LiveId" clId="{B68A72C4-CD85-46BB-9451-89B241CD19AE}" dt="2022-11-22T23:16:33.382" v="19109" actId="113"/>
          <ac:spMkLst>
            <pc:docMk/>
            <pc:sldMk cId="3905459325" sldId="1203"/>
            <ac:spMk id="20" creationId="{3AD9326C-340E-03C6-599C-AC979F85A096}"/>
          </ac:spMkLst>
        </pc:spChg>
        <pc:spChg chg="add mod">
          <ac:chgData name="Stina Ru" userId="a298bcda0a73aae4" providerId="LiveId" clId="{B68A72C4-CD85-46BB-9451-89B241CD19AE}" dt="2022-11-22T23:58:03.589" v="19223" actId="14100"/>
          <ac:spMkLst>
            <pc:docMk/>
            <pc:sldMk cId="3905459325" sldId="1203"/>
            <ac:spMk id="21" creationId="{9A72DE20-4534-C659-FD1A-FCD83C4EDEC0}"/>
          </ac:spMkLst>
        </pc:spChg>
        <pc:spChg chg="add mod">
          <ac:chgData name="Stina Ru" userId="a298bcda0a73aae4" providerId="LiveId" clId="{B68A72C4-CD85-46BB-9451-89B241CD19AE}" dt="2022-11-22T23:15:45.291" v="19096" actId="1076"/>
          <ac:spMkLst>
            <pc:docMk/>
            <pc:sldMk cId="3905459325" sldId="1203"/>
            <ac:spMk id="22" creationId="{7AA6D104-AB3C-DF20-0924-2D3C6FD35059}"/>
          </ac:spMkLst>
        </pc:spChg>
        <pc:graphicFrameChg chg="add del mod modGraphic">
          <ac:chgData name="Stina Ru" userId="a298bcda0a73aae4" providerId="LiveId" clId="{B68A72C4-CD85-46BB-9451-89B241CD19AE}" dt="2022-11-22T15:30:56.244" v="7024" actId="478"/>
          <ac:graphicFrameMkLst>
            <pc:docMk/>
            <pc:sldMk cId="3905459325" sldId="1203"/>
            <ac:graphicFrameMk id="2" creationId="{14465B42-476A-55F5-B9C9-3E0F88D166BC}"/>
          </ac:graphicFrameMkLst>
        </pc:graphicFrameChg>
        <pc:graphicFrameChg chg="add mod modGraphic">
          <ac:chgData name="Stina Ru" userId="a298bcda0a73aae4" providerId="LiveId" clId="{B68A72C4-CD85-46BB-9451-89B241CD19AE}" dt="2022-11-22T23:15:00.287" v="19079" actId="21"/>
          <ac:graphicFrameMkLst>
            <pc:docMk/>
            <pc:sldMk cId="3905459325" sldId="1203"/>
            <ac:graphicFrameMk id="5" creationId="{FBFA6A4C-A9A1-A035-9E44-704459698F8A}"/>
          </ac:graphicFrameMkLst>
        </pc:graphicFrameChg>
        <pc:graphicFrameChg chg="add mod modGraphic">
          <ac:chgData name="Stina Ru" userId="a298bcda0a73aae4" providerId="LiveId" clId="{B68A72C4-CD85-46BB-9451-89B241CD19AE}" dt="2022-11-22T23:15:25.271" v="19090" actId="21"/>
          <ac:graphicFrameMkLst>
            <pc:docMk/>
            <pc:sldMk cId="3905459325" sldId="1203"/>
            <ac:graphicFrameMk id="8" creationId="{1CCAF2DD-8499-68B5-1240-379541FAB0B7}"/>
          </ac:graphicFrameMkLst>
        </pc:graphicFrameChg>
        <pc:graphicFrameChg chg="add mod modGraphic">
          <ac:chgData name="Stina Ru" userId="a298bcda0a73aae4" providerId="LiveId" clId="{B68A72C4-CD85-46BB-9451-89B241CD19AE}" dt="2022-11-22T23:58:00.474" v="19222" actId="14100"/>
          <ac:graphicFrameMkLst>
            <pc:docMk/>
            <pc:sldMk cId="3905459325" sldId="1203"/>
            <ac:graphicFrameMk id="9" creationId="{4A0793CC-C52F-C9C5-6502-BCD564447E43}"/>
          </ac:graphicFrameMkLst>
        </pc:graphicFrameChg>
        <pc:graphicFrameChg chg="add mod modGraphic">
          <ac:chgData name="Stina Ru" userId="a298bcda0a73aae4" providerId="LiveId" clId="{B68A72C4-CD85-46BB-9451-89B241CD19AE}" dt="2022-11-22T23:16:16.785" v="19104" actId="21"/>
          <ac:graphicFrameMkLst>
            <pc:docMk/>
            <pc:sldMk cId="3905459325" sldId="1203"/>
            <ac:graphicFrameMk id="10" creationId="{330ECD52-2243-AFE9-7DF5-3EFDE4F38570}"/>
          </ac:graphicFrameMkLst>
        </pc:graphicFrameChg>
        <pc:picChg chg="mod">
          <ac:chgData name="Stina Ru" userId="a298bcda0a73aae4" providerId="LiveId" clId="{B68A72C4-CD85-46BB-9451-89B241CD19AE}" dt="2022-11-22T15:31:37.419" v="7044" actId="1076"/>
          <ac:picMkLst>
            <pc:docMk/>
            <pc:sldMk cId="3905459325" sldId="1203"/>
            <ac:picMk id="3" creationId="{262C911B-4570-2234-FD44-069F0716F971}"/>
          </ac:picMkLst>
        </pc:picChg>
        <pc:picChg chg="mod">
          <ac:chgData name="Stina Ru" userId="a298bcda0a73aae4" providerId="LiveId" clId="{B68A72C4-CD85-46BB-9451-89B241CD19AE}" dt="2022-11-22T15:31:33.865" v="7043" actId="1076"/>
          <ac:picMkLst>
            <pc:docMk/>
            <pc:sldMk cId="3905459325" sldId="1203"/>
            <ac:picMk id="7" creationId="{31C0E3EE-B2BC-1703-A482-5FEC88393ED9}"/>
          </ac:picMkLst>
        </pc:picChg>
        <pc:picChg chg="add mod">
          <ac:chgData name="Stina Ru" userId="a298bcda0a73aae4" providerId="LiveId" clId="{B68A72C4-CD85-46BB-9451-89B241CD19AE}" dt="2022-11-22T20:06:31.039" v="17882" actId="207"/>
          <ac:picMkLst>
            <pc:docMk/>
            <pc:sldMk cId="3905459325" sldId="1203"/>
            <ac:picMk id="14" creationId="{92F4C46F-BF9C-F90A-7798-A149A06C7DCA}"/>
          </ac:picMkLst>
        </pc:picChg>
      </pc:sldChg>
      <pc:sldChg chg="modSp add mod">
        <pc:chgData name="Stina Ru" userId="a298bcda0a73aae4" providerId="LiveId" clId="{B68A72C4-CD85-46BB-9451-89B241CD19AE}" dt="2022-11-22T15:46:03.936" v="7789" actId="1076"/>
        <pc:sldMkLst>
          <pc:docMk/>
          <pc:sldMk cId="2722139556" sldId="1204"/>
        </pc:sldMkLst>
        <pc:spChg chg="mod">
          <ac:chgData name="Stina Ru" userId="a298bcda0a73aae4" providerId="LiveId" clId="{B68A72C4-CD85-46BB-9451-89B241CD19AE}" dt="2022-11-22T15:46:03.936" v="7789" actId="1076"/>
          <ac:spMkLst>
            <pc:docMk/>
            <pc:sldMk cId="2722139556" sldId="1204"/>
            <ac:spMk id="2" creationId="{2E8E55A0-73B3-4565-BA58-ACE5F64229D6}"/>
          </ac:spMkLst>
        </pc:spChg>
      </pc:sldChg>
      <pc:sldChg chg="addSp delSp modSp add mod">
        <pc:chgData name="Stina Ru" userId="a298bcda0a73aae4" providerId="LiveId" clId="{B68A72C4-CD85-46BB-9451-89B241CD19AE}" dt="2022-11-22T22:14:55.577" v="18800" actId="20577"/>
        <pc:sldMkLst>
          <pc:docMk/>
          <pc:sldMk cId="54498458" sldId="1205"/>
        </pc:sldMkLst>
        <pc:spChg chg="mod">
          <ac:chgData name="Stina Ru" userId="a298bcda0a73aae4" providerId="LiveId" clId="{B68A72C4-CD85-46BB-9451-89B241CD19AE}" dt="2022-11-22T22:14:55.577" v="18800" actId="20577"/>
          <ac:spMkLst>
            <pc:docMk/>
            <pc:sldMk cId="54498458" sldId="1205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6:09:02.123" v="8672" actId="20577"/>
          <ac:spMkLst>
            <pc:docMk/>
            <pc:sldMk cId="54498458" sldId="1205"/>
            <ac:spMk id="12" creationId="{13B203F9-1E27-4E57-902E-B40C20ADA7DF}"/>
          </ac:spMkLst>
        </pc:spChg>
        <pc:picChg chg="del">
          <ac:chgData name="Stina Ru" userId="a298bcda0a73aae4" providerId="LiveId" clId="{B68A72C4-CD85-46BB-9451-89B241CD19AE}" dt="2022-11-22T15:47:04.059" v="7851" actId="478"/>
          <ac:picMkLst>
            <pc:docMk/>
            <pc:sldMk cId="54498458" sldId="1205"/>
            <ac:picMk id="3" creationId="{262C911B-4570-2234-FD44-069F0716F971}"/>
          </ac:picMkLst>
        </pc:picChg>
        <pc:picChg chg="add del mod">
          <ac:chgData name="Stina Ru" userId="a298bcda0a73aae4" providerId="LiveId" clId="{B68A72C4-CD85-46BB-9451-89B241CD19AE}" dt="2022-11-22T15:50:45.537" v="8005" actId="478"/>
          <ac:picMkLst>
            <pc:docMk/>
            <pc:sldMk cId="54498458" sldId="1205"/>
            <ac:picMk id="5" creationId="{155EE8EC-5284-ED48-FF48-32347D256B4D}"/>
          </ac:picMkLst>
        </pc:picChg>
        <pc:picChg chg="del">
          <ac:chgData name="Stina Ru" userId="a298bcda0a73aae4" providerId="LiveId" clId="{B68A72C4-CD85-46BB-9451-89B241CD19AE}" dt="2022-11-22T15:47:02.066" v="7850" actId="478"/>
          <ac:picMkLst>
            <pc:docMk/>
            <pc:sldMk cId="54498458" sldId="1205"/>
            <ac:picMk id="7" creationId="{31C0E3EE-B2BC-1703-A482-5FEC88393ED9}"/>
          </ac:picMkLst>
        </pc:picChg>
        <pc:picChg chg="add mod">
          <ac:chgData name="Stina Ru" userId="a298bcda0a73aae4" providerId="LiveId" clId="{B68A72C4-CD85-46BB-9451-89B241CD19AE}" dt="2022-11-22T16:08:57.463" v="8670" actId="1076"/>
          <ac:picMkLst>
            <pc:docMk/>
            <pc:sldMk cId="54498458" sldId="1205"/>
            <ac:picMk id="9" creationId="{EDE60D61-39B0-AF03-2566-8CF5EDACD80B}"/>
          </ac:picMkLst>
        </pc:picChg>
        <pc:picChg chg="add mod">
          <ac:chgData name="Stina Ru" userId="a298bcda0a73aae4" providerId="LiveId" clId="{B68A72C4-CD85-46BB-9451-89B241CD19AE}" dt="2022-11-22T22:10:15.385" v="18542" actId="1076"/>
          <ac:picMkLst>
            <pc:docMk/>
            <pc:sldMk cId="54498458" sldId="1205"/>
            <ac:picMk id="11" creationId="{DBD8417F-D73E-8ECA-FA61-B08A977C01CB}"/>
          </ac:picMkLst>
        </pc:picChg>
        <pc:picChg chg="add del mod">
          <ac:chgData name="Stina Ru" userId="a298bcda0a73aae4" providerId="LiveId" clId="{B68A72C4-CD85-46BB-9451-89B241CD19AE}" dt="2022-11-22T20:09:41.610" v="17897" actId="478"/>
          <ac:picMkLst>
            <pc:docMk/>
            <pc:sldMk cId="54498458" sldId="1205"/>
            <ac:picMk id="14" creationId="{C8996A88-3668-043F-3102-0E691ED74B83}"/>
          </ac:picMkLst>
        </pc:picChg>
        <pc:picChg chg="add mod">
          <ac:chgData name="Stina Ru" userId="a298bcda0a73aae4" providerId="LiveId" clId="{B68A72C4-CD85-46BB-9451-89B241CD19AE}" dt="2022-11-22T22:09:57.184" v="18536" actId="1076"/>
          <ac:picMkLst>
            <pc:docMk/>
            <pc:sldMk cId="54498458" sldId="1205"/>
            <ac:picMk id="16" creationId="{E984C7D3-673F-892E-271C-BF096AFEEEDE}"/>
          </ac:picMkLst>
        </pc:picChg>
        <pc:picChg chg="add mod">
          <ac:chgData name="Stina Ru" userId="a298bcda0a73aae4" providerId="LiveId" clId="{B68A72C4-CD85-46BB-9451-89B241CD19AE}" dt="2022-11-22T22:10:20.647" v="18543" actId="1076"/>
          <ac:picMkLst>
            <pc:docMk/>
            <pc:sldMk cId="54498458" sldId="1205"/>
            <ac:picMk id="18" creationId="{A83B4A4C-3676-388B-5EDF-6AC4AA0E8511}"/>
          </ac:picMkLst>
        </pc:picChg>
        <pc:picChg chg="add mod">
          <ac:chgData name="Stina Ru" userId="a298bcda0a73aae4" providerId="LiveId" clId="{B68A72C4-CD85-46BB-9451-89B241CD19AE}" dt="2022-11-22T20:10:42.259" v="17911" actId="1076"/>
          <ac:picMkLst>
            <pc:docMk/>
            <pc:sldMk cId="54498458" sldId="1205"/>
            <ac:picMk id="20" creationId="{0611D04B-2713-D0CC-3510-DD32D8B41CC1}"/>
          </ac:picMkLst>
        </pc:picChg>
        <pc:picChg chg="add mod">
          <ac:chgData name="Stina Ru" userId="a298bcda0a73aae4" providerId="LiveId" clId="{B68A72C4-CD85-46BB-9451-89B241CD19AE}" dt="2022-11-22T22:09:24.604" v="18500" actId="1076"/>
          <ac:picMkLst>
            <pc:docMk/>
            <pc:sldMk cId="54498458" sldId="1205"/>
            <ac:picMk id="25" creationId="{2D178592-7518-F812-9CD0-C088C2CC6B58}"/>
          </ac:picMkLst>
        </pc:picChg>
        <pc:cxnChg chg="add del mod">
          <ac:chgData name="Stina Ru" userId="a298bcda0a73aae4" providerId="LiveId" clId="{B68A72C4-CD85-46BB-9451-89B241CD19AE}" dt="2022-11-22T20:11:10.987" v="17919" actId="478"/>
          <ac:cxnSpMkLst>
            <pc:docMk/>
            <pc:sldMk cId="54498458" sldId="1205"/>
            <ac:cxnSpMk id="22" creationId="{8733C539-DF96-EFA5-45AE-8E1003CF2729}"/>
          </ac:cxnSpMkLst>
        </pc:cxnChg>
        <pc:cxnChg chg="add mod">
          <ac:chgData name="Stina Ru" userId="a298bcda0a73aae4" providerId="LiveId" clId="{B68A72C4-CD85-46BB-9451-89B241CD19AE}" dt="2022-11-22T20:11:04.982" v="17916" actId="208"/>
          <ac:cxnSpMkLst>
            <pc:docMk/>
            <pc:sldMk cId="54498458" sldId="1205"/>
            <ac:cxnSpMk id="23" creationId="{564E7BE5-93E7-9856-5FE0-A2FFEAE1428E}"/>
          </ac:cxnSpMkLst>
        </pc:cxnChg>
        <pc:cxnChg chg="add mod">
          <ac:chgData name="Stina Ru" userId="a298bcda0a73aae4" providerId="LiveId" clId="{B68A72C4-CD85-46BB-9451-89B241CD19AE}" dt="2022-11-22T20:11:16.299" v="17920" actId="1076"/>
          <ac:cxnSpMkLst>
            <pc:docMk/>
            <pc:sldMk cId="54498458" sldId="1205"/>
            <ac:cxnSpMk id="24" creationId="{13F68496-CC49-9D3E-EBBB-C7BE4D0BB146}"/>
          </ac:cxnSpMkLst>
        </pc:cxnChg>
      </pc:sldChg>
      <pc:sldChg chg="addSp delSp modSp add mod">
        <pc:chgData name="Stina Ru" userId="a298bcda0a73aae4" providerId="LiveId" clId="{B68A72C4-CD85-46BB-9451-89B241CD19AE}" dt="2022-11-23T10:38:51.054" v="19620" actId="1076"/>
        <pc:sldMkLst>
          <pc:docMk/>
          <pc:sldMk cId="3801932027" sldId="1206"/>
        </pc:sldMkLst>
        <pc:spChg chg="add del mod">
          <ac:chgData name="Stina Ru" userId="a298bcda0a73aae4" providerId="LiveId" clId="{B68A72C4-CD85-46BB-9451-89B241CD19AE}" dt="2022-11-22T16:38:04.667" v="9278"/>
          <ac:spMkLst>
            <pc:docMk/>
            <pc:sldMk cId="3801932027" sldId="1206"/>
            <ac:spMk id="2" creationId="{0AC9E69F-5EE7-ED95-4BC9-A2C9D2E32197}"/>
          </ac:spMkLst>
        </pc:spChg>
        <pc:spChg chg="mod">
          <ac:chgData name="Stina Ru" userId="a298bcda0a73aae4" providerId="LiveId" clId="{B68A72C4-CD85-46BB-9451-89B241CD19AE}" dt="2022-11-23T10:38:51.054" v="19620" actId="1076"/>
          <ac:spMkLst>
            <pc:docMk/>
            <pc:sldMk cId="3801932027" sldId="1206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8:48:16.004" v="13098" actId="20577"/>
          <ac:spMkLst>
            <pc:docMk/>
            <pc:sldMk cId="3801932027" sldId="1206"/>
            <ac:spMk id="12" creationId="{13B203F9-1E27-4E57-902E-B40C20ADA7DF}"/>
          </ac:spMkLst>
        </pc:spChg>
        <pc:picChg chg="del">
          <ac:chgData name="Stina Ru" userId="a298bcda0a73aae4" providerId="LiveId" clId="{B68A72C4-CD85-46BB-9451-89B241CD19AE}" dt="2022-11-22T16:08:41.456" v="8668" actId="478"/>
          <ac:picMkLst>
            <pc:docMk/>
            <pc:sldMk cId="3801932027" sldId="1206"/>
            <ac:picMk id="9" creationId="{EDE60D61-39B0-AF03-2566-8CF5EDACD80B}"/>
          </ac:picMkLst>
        </pc:picChg>
      </pc:sldChg>
      <pc:sldChg chg="addSp delSp modSp add mod ord modAnim">
        <pc:chgData name="Stina Ru" userId="a298bcda0a73aae4" providerId="LiveId" clId="{B68A72C4-CD85-46BB-9451-89B241CD19AE}" dt="2022-11-22T22:28:21.877" v="18978" actId="20577"/>
        <pc:sldMkLst>
          <pc:docMk/>
          <pc:sldMk cId="3056762" sldId="1207"/>
        </pc:sldMkLst>
        <pc:spChg chg="add del mod">
          <ac:chgData name="Stina Ru" userId="a298bcda0a73aae4" providerId="LiveId" clId="{B68A72C4-CD85-46BB-9451-89B241CD19AE}" dt="2022-11-22T22:28:21.877" v="18978" actId="20577"/>
          <ac:spMkLst>
            <pc:docMk/>
            <pc:sldMk cId="3056762" sldId="1207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8:15:43.816" v="11575" actId="20577"/>
          <ac:spMkLst>
            <pc:docMk/>
            <pc:sldMk cId="3056762" sldId="1207"/>
            <ac:spMk id="12" creationId="{13B203F9-1E27-4E57-902E-B40C20ADA7DF}"/>
          </ac:spMkLst>
        </pc:spChg>
        <pc:picChg chg="add del mod">
          <ac:chgData name="Stina Ru" userId="a298bcda0a73aae4" providerId="LiveId" clId="{B68A72C4-CD85-46BB-9451-89B241CD19AE}" dt="2022-11-22T18:15:35.928" v="11573" actId="21"/>
          <ac:picMkLst>
            <pc:docMk/>
            <pc:sldMk cId="3056762" sldId="1207"/>
            <ac:picMk id="3" creationId="{92CD01DB-0BE6-1CBC-EA76-17BAA4C36CE3}"/>
          </ac:picMkLst>
        </pc:picChg>
        <pc:picChg chg="add del">
          <ac:chgData name="Stina Ru" userId="a298bcda0a73aae4" providerId="LiveId" clId="{B68A72C4-CD85-46BB-9451-89B241CD19AE}" dt="2022-11-22T18:03:42.955" v="11426" actId="478"/>
          <ac:picMkLst>
            <pc:docMk/>
            <pc:sldMk cId="3056762" sldId="1207"/>
            <ac:picMk id="7" creationId="{F82629A8-FAA8-620E-0035-83CAA303E26E}"/>
          </ac:picMkLst>
        </pc:picChg>
        <pc:picChg chg="add del mod">
          <ac:chgData name="Stina Ru" userId="a298bcda0a73aae4" providerId="LiveId" clId="{B68A72C4-CD85-46BB-9451-89B241CD19AE}" dt="2022-11-22T18:30:39.536" v="12267" actId="478"/>
          <ac:picMkLst>
            <pc:docMk/>
            <pc:sldMk cId="3056762" sldId="1207"/>
            <ac:picMk id="8" creationId="{A1347DDF-9343-CB18-F6ED-DC10984A6A0A}"/>
          </ac:picMkLst>
        </pc:picChg>
      </pc:sldChg>
      <pc:sldChg chg="addSp delSp modSp add mod ord">
        <pc:chgData name="Stina Ru" userId="a298bcda0a73aae4" providerId="LiveId" clId="{B68A72C4-CD85-46BB-9451-89B241CD19AE}" dt="2022-11-22T23:03:26.827" v="19039"/>
        <pc:sldMkLst>
          <pc:docMk/>
          <pc:sldMk cId="3192737614" sldId="1208"/>
        </pc:sldMkLst>
        <pc:spChg chg="mod">
          <ac:chgData name="Stina Ru" userId="a298bcda0a73aae4" providerId="LiveId" clId="{B68A72C4-CD85-46BB-9451-89B241CD19AE}" dt="2022-11-22T18:14:44.883" v="11567" actId="1076"/>
          <ac:spMkLst>
            <pc:docMk/>
            <pc:sldMk cId="3192737614" sldId="1208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8:49:37.536" v="13121" actId="20577"/>
          <ac:spMkLst>
            <pc:docMk/>
            <pc:sldMk cId="3192737614" sldId="1208"/>
            <ac:spMk id="12" creationId="{13B203F9-1E27-4E57-902E-B40C20ADA7DF}"/>
          </ac:spMkLst>
        </pc:spChg>
        <pc:graphicFrameChg chg="add del mod modGraphic">
          <ac:chgData name="Stina Ru" userId="a298bcda0a73aae4" providerId="LiveId" clId="{B68A72C4-CD85-46BB-9451-89B241CD19AE}" dt="2022-11-22T16:56:07.882" v="9922" actId="3680"/>
          <ac:graphicFrameMkLst>
            <pc:docMk/>
            <pc:sldMk cId="3192737614" sldId="1208"/>
            <ac:graphicFrameMk id="2" creationId="{B9C8CB58-55EA-6E7C-3086-31E8C52F2C2E}"/>
          </ac:graphicFrameMkLst>
        </pc:graphicFrameChg>
        <pc:graphicFrameChg chg="add mod modGraphic">
          <ac:chgData name="Stina Ru" userId="a298bcda0a73aae4" providerId="LiveId" clId="{B68A72C4-CD85-46BB-9451-89B241CD19AE}" dt="2022-11-22T18:14:40.953" v="11566" actId="1076"/>
          <ac:graphicFrameMkLst>
            <pc:docMk/>
            <pc:sldMk cId="3192737614" sldId="1208"/>
            <ac:graphicFrameMk id="3" creationId="{53A0682D-8568-1DF6-8B3B-3DD040A3D348}"/>
          </ac:graphicFrameMkLst>
        </pc:graphicFrameChg>
        <pc:picChg chg="add mod">
          <ac:chgData name="Stina Ru" userId="a298bcda0a73aae4" providerId="LiveId" clId="{B68A72C4-CD85-46BB-9451-89B241CD19AE}" dt="2022-11-22T22:19:12.929" v="18903" actId="1036"/>
          <ac:picMkLst>
            <pc:docMk/>
            <pc:sldMk cId="3192737614" sldId="1208"/>
            <ac:picMk id="5" creationId="{FF0BDDCD-7552-9E8F-BE53-AA542489ABF6}"/>
          </ac:picMkLst>
        </pc:picChg>
      </pc:sldChg>
      <pc:sldChg chg="addSp delSp modSp add del mod ord">
        <pc:chgData name="Stina Ru" userId="a298bcda0a73aae4" providerId="LiveId" clId="{B68A72C4-CD85-46BB-9451-89B241CD19AE}" dt="2022-11-22T23:03:29.656" v="19040" actId="47"/>
        <pc:sldMkLst>
          <pc:docMk/>
          <pc:sldMk cId="1506032727" sldId="1209"/>
        </pc:sldMkLst>
        <pc:spChg chg="mod">
          <ac:chgData name="Stina Ru" userId="a298bcda0a73aae4" providerId="LiveId" clId="{B68A72C4-CD85-46BB-9451-89B241CD19AE}" dt="2022-11-22T20:12:04.665" v="17949" actId="20577"/>
          <ac:spMkLst>
            <pc:docMk/>
            <pc:sldMk cId="1506032727" sldId="1209"/>
            <ac:spMk id="12" creationId="{13B203F9-1E27-4E57-902E-B40C20ADA7DF}"/>
          </ac:spMkLst>
        </pc:spChg>
        <pc:picChg chg="add mod">
          <ac:chgData name="Stina Ru" userId="a298bcda0a73aae4" providerId="LiveId" clId="{B68A72C4-CD85-46BB-9451-89B241CD19AE}" dt="2022-11-22T18:15:38.279" v="11574"/>
          <ac:picMkLst>
            <pc:docMk/>
            <pc:sldMk cId="1506032727" sldId="1209"/>
            <ac:picMk id="2" creationId="{E9DD71CE-FFA6-E296-5F7C-6C68D6DE31BD}"/>
          </ac:picMkLst>
        </pc:picChg>
        <pc:picChg chg="del">
          <ac:chgData name="Stina Ru" userId="a298bcda0a73aae4" providerId="LiveId" clId="{B68A72C4-CD85-46BB-9451-89B241CD19AE}" dt="2022-11-22T18:03:40.121" v="11425" actId="478"/>
          <ac:picMkLst>
            <pc:docMk/>
            <pc:sldMk cId="1506032727" sldId="1209"/>
            <ac:picMk id="3" creationId="{92CD01DB-0BE6-1CBC-EA76-17BAA4C36CE3}"/>
          </ac:picMkLst>
        </pc:picChg>
        <pc:picChg chg="del">
          <ac:chgData name="Stina Ru" userId="a298bcda0a73aae4" providerId="LiveId" clId="{B68A72C4-CD85-46BB-9451-89B241CD19AE}" dt="2022-11-22T18:03:38.648" v="11424" actId="478"/>
          <ac:picMkLst>
            <pc:docMk/>
            <pc:sldMk cId="1506032727" sldId="1209"/>
            <ac:picMk id="7" creationId="{F82629A8-FAA8-620E-0035-83CAA303E26E}"/>
          </ac:picMkLst>
        </pc:picChg>
      </pc:sldChg>
      <pc:sldChg chg="modSp add del mod">
        <pc:chgData name="Stina Ru" userId="a298bcda0a73aae4" providerId="LiveId" clId="{B68A72C4-CD85-46BB-9451-89B241CD19AE}" dt="2022-11-22T18:31:31.360" v="12324" actId="47"/>
        <pc:sldMkLst>
          <pc:docMk/>
          <pc:sldMk cId="695974409" sldId="1210"/>
        </pc:sldMkLst>
        <pc:spChg chg="mod">
          <ac:chgData name="Stina Ru" userId="a298bcda0a73aae4" providerId="LiveId" clId="{B68A72C4-CD85-46BB-9451-89B241CD19AE}" dt="2022-11-22T18:30:53.503" v="12307" actId="6549"/>
          <ac:spMkLst>
            <pc:docMk/>
            <pc:sldMk cId="695974409" sldId="1210"/>
            <ac:spMk id="12" creationId="{13B203F9-1E27-4E57-902E-B40C20ADA7DF}"/>
          </ac:spMkLst>
        </pc:spChg>
      </pc:sldChg>
      <pc:sldChg chg="modSp add mod modAnim">
        <pc:chgData name="Stina Ru" userId="a298bcda0a73aae4" providerId="LiveId" clId="{B68A72C4-CD85-46BB-9451-89B241CD19AE}" dt="2022-11-22T22:29:23.597" v="18982" actId="20577"/>
        <pc:sldMkLst>
          <pc:docMk/>
          <pc:sldMk cId="1693290735" sldId="1211"/>
        </pc:sldMkLst>
        <pc:spChg chg="mod">
          <ac:chgData name="Stina Ru" userId="a298bcda0a73aae4" providerId="LiveId" clId="{B68A72C4-CD85-46BB-9451-89B241CD19AE}" dt="2022-11-22T22:29:23.597" v="18982" actId="20577"/>
          <ac:spMkLst>
            <pc:docMk/>
            <pc:sldMk cId="1693290735" sldId="1211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8:43:08.480" v="13032" actId="20577"/>
          <ac:spMkLst>
            <pc:docMk/>
            <pc:sldMk cId="1693290735" sldId="1211"/>
            <ac:spMk id="12" creationId="{13B203F9-1E27-4E57-902E-B40C20ADA7DF}"/>
          </ac:spMkLst>
        </pc:spChg>
        <pc:picChg chg="mod">
          <ac:chgData name="Stina Ru" userId="a298bcda0a73aae4" providerId="LiveId" clId="{B68A72C4-CD85-46BB-9451-89B241CD19AE}" dt="2022-11-22T18:43:26.125" v="13034" actId="1076"/>
          <ac:picMkLst>
            <pc:docMk/>
            <pc:sldMk cId="1693290735" sldId="1211"/>
            <ac:picMk id="3" creationId="{262C911B-4570-2234-FD44-069F0716F971}"/>
          </ac:picMkLst>
        </pc:picChg>
        <pc:picChg chg="mod">
          <ac:chgData name="Stina Ru" userId="a298bcda0a73aae4" providerId="LiveId" clId="{B68A72C4-CD85-46BB-9451-89B241CD19AE}" dt="2022-11-22T18:43:20.605" v="13033" actId="1076"/>
          <ac:picMkLst>
            <pc:docMk/>
            <pc:sldMk cId="1693290735" sldId="1211"/>
            <ac:picMk id="7" creationId="{31C0E3EE-B2BC-1703-A482-5FEC88393ED9}"/>
          </ac:picMkLst>
        </pc:picChg>
      </pc:sldChg>
      <pc:sldChg chg="addSp modSp add del mod modAnim">
        <pc:chgData name="Stina Ru" userId="a298bcda0a73aae4" providerId="LiveId" clId="{B68A72C4-CD85-46BB-9451-89B241CD19AE}" dt="2022-11-22T19:11:39.868" v="14661" actId="47"/>
        <pc:sldMkLst>
          <pc:docMk/>
          <pc:sldMk cId="81875812" sldId="1212"/>
        </pc:sldMkLst>
        <pc:spChg chg="add mod">
          <ac:chgData name="Stina Ru" userId="a298bcda0a73aae4" providerId="LiveId" clId="{B68A72C4-CD85-46BB-9451-89B241CD19AE}" dt="2022-11-22T19:06:23.605" v="14144"/>
          <ac:spMkLst>
            <pc:docMk/>
            <pc:sldMk cId="81875812" sldId="1212"/>
            <ac:spMk id="2" creationId="{291D4837-E816-273D-F924-A1B0B9AB05C6}"/>
          </ac:spMkLst>
        </pc:spChg>
        <pc:spChg chg="mod">
          <ac:chgData name="Stina Ru" userId="a298bcda0a73aae4" providerId="LiveId" clId="{B68A72C4-CD85-46BB-9451-89B241CD19AE}" dt="2022-11-22T19:06:31.497" v="14145" actId="21"/>
          <ac:spMkLst>
            <pc:docMk/>
            <pc:sldMk cId="81875812" sldId="1212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9:01:51.219" v="13858" actId="20577"/>
          <ac:spMkLst>
            <pc:docMk/>
            <pc:sldMk cId="81875812" sldId="1212"/>
            <ac:spMk id="12" creationId="{13B203F9-1E27-4E57-902E-B40C20ADA7DF}"/>
          </ac:spMkLst>
        </pc:spChg>
      </pc:sldChg>
      <pc:sldChg chg="add del">
        <pc:chgData name="Stina Ru" userId="a298bcda0a73aae4" providerId="LiveId" clId="{B68A72C4-CD85-46BB-9451-89B241CD19AE}" dt="2022-11-22T18:50:32.383" v="13123"/>
        <pc:sldMkLst>
          <pc:docMk/>
          <pc:sldMk cId="1139542913" sldId="1212"/>
        </pc:sldMkLst>
      </pc:sldChg>
      <pc:sldChg chg="addSp delSp modSp add mod ord delAnim modAnim">
        <pc:chgData name="Stina Ru" userId="a298bcda0a73aae4" providerId="LiveId" clId="{B68A72C4-CD85-46BB-9451-89B241CD19AE}" dt="2022-11-22T22:34:38" v="19036"/>
        <pc:sldMkLst>
          <pc:docMk/>
          <pc:sldMk cId="3912368257" sldId="1213"/>
        </pc:sldMkLst>
        <pc:spChg chg="add del mod">
          <ac:chgData name="Stina Ru" userId="a298bcda0a73aae4" providerId="LiveId" clId="{B68A72C4-CD85-46BB-9451-89B241CD19AE}" dt="2022-11-22T19:22:42.790" v="15553"/>
          <ac:spMkLst>
            <pc:docMk/>
            <pc:sldMk cId="3912368257" sldId="1213"/>
            <ac:spMk id="2" creationId="{F784EF5D-F103-D051-445B-98AED9A9EDF1}"/>
          </ac:spMkLst>
        </pc:spChg>
        <pc:spChg chg="mod">
          <ac:chgData name="Stina Ru" userId="a298bcda0a73aae4" providerId="LiveId" clId="{B68A72C4-CD85-46BB-9451-89B241CD19AE}" dt="2022-11-22T19:31:14.041" v="16131" actId="20577"/>
          <ac:spMkLst>
            <pc:docMk/>
            <pc:sldMk cId="3912368257" sldId="1213"/>
            <ac:spMk id="6" creationId="{070F7C74-9112-406B-A0CC-08F6DDA1D2AF}"/>
          </ac:spMkLst>
        </pc:spChg>
        <pc:spChg chg="add del mod">
          <ac:chgData name="Stina Ru" userId="a298bcda0a73aae4" providerId="LiveId" clId="{B68A72C4-CD85-46BB-9451-89B241CD19AE}" dt="2022-11-22T19:25:49.627" v="15804" actId="478"/>
          <ac:spMkLst>
            <pc:docMk/>
            <pc:sldMk cId="3912368257" sldId="1213"/>
            <ac:spMk id="7" creationId="{D43DD140-76A5-BE63-BBCC-E3CDC2CDD837}"/>
          </ac:spMkLst>
        </pc:spChg>
        <pc:spChg chg="add del mod">
          <ac:chgData name="Stina Ru" userId="a298bcda0a73aae4" providerId="LiveId" clId="{B68A72C4-CD85-46BB-9451-89B241CD19AE}" dt="2022-11-22T19:25:47.546" v="15803" actId="478"/>
          <ac:spMkLst>
            <pc:docMk/>
            <pc:sldMk cId="3912368257" sldId="1213"/>
            <ac:spMk id="8" creationId="{3049A214-EFE0-17D4-6B19-A12B8A696A34}"/>
          </ac:spMkLst>
        </pc:spChg>
        <pc:spChg chg="mod">
          <ac:chgData name="Stina Ru" userId="a298bcda0a73aae4" providerId="LiveId" clId="{B68A72C4-CD85-46BB-9451-89B241CD19AE}" dt="2022-11-22T19:26:09.963" v="15822" actId="20577"/>
          <ac:spMkLst>
            <pc:docMk/>
            <pc:sldMk cId="3912368257" sldId="1213"/>
            <ac:spMk id="12" creationId="{13B203F9-1E27-4E57-902E-B40C20ADA7DF}"/>
          </ac:spMkLst>
        </pc:spChg>
        <pc:cxnChg chg="add mod">
          <ac:chgData name="Stina Ru" userId="a298bcda0a73aae4" providerId="LiveId" clId="{B68A72C4-CD85-46BB-9451-89B241CD19AE}" dt="2022-11-22T19:31:23.028" v="16132" actId="1076"/>
          <ac:cxnSpMkLst>
            <pc:docMk/>
            <pc:sldMk cId="3912368257" sldId="1213"/>
            <ac:cxnSpMk id="3" creationId="{BD4D3CBD-BFF4-88D3-C6EA-225461B99B03}"/>
          </ac:cxnSpMkLst>
        </pc:cxnChg>
        <pc:cxnChg chg="add del mod">
          <ac:chgData name="Stina Ru" userId="a298bcda0a73aae4" providerId="LiveId" clId="{B68A72C4-CD85-46BB-9451-89B241CD19AE}" dt="2022-11-22T19:25:54.663" v="15808" actId="478"/>
          <ac:cxnSpMkLst>
            <pc:docMk/>
            <pc:sldMk cId="3912368257" sldId="1213"/>
            <ac:cxnSpMk id="5" creationId="{57D19304-B3D2-6CE1-C2BF-DE4AEEEA56E0}"/>
          </ac:cxnSpMkLst>
        </pc:cxnChg>
      </pc:sldChg>
      <pc:sldChg chg="addSp modSp add mod ord modAnim">
        <pc:chgData name="Stina Ru" userId="a298bcda0a73aae4" providerId="LiveId" clId="{B68A72C4-CD85-46BB-9451-89B241CD19AE}" dt="2022-11-23T10:49:06.337" v="19640"/>
        <pc:sldMkLst>
          <pc:docMk/>
          <pc:sldMk cId="3272961467" sldId="1214"/>
        </pc:sldMkLst>
        <pc:spChg chg="add mod">
          <ac:chgData name="Stina Ru" userId="a298bcda0a73aae4" providerId="LiveId" clId="{B68A72C4-CD85-46BB-9451-89B241CD19AE}" dt="2022-11-22T19:11:22.947" v="14660" actId="1076"/>
          <ac:spMkLst>
            <pc:docMk/>
            <pc:sldMk cId="3272961467" sldId="1214"/>
            <ac:spMk id="2" creationId="{22313D0D-C144-4053-F775-4F438FA7999C}"/>
          </ac:spMkLst>
        </pc:spChg>
        <pc:spChg chg="add mod">
          <ac:chgData name="Stina Ru" userId="a298bcda0a73aae4" providerId="LiveId" clId="{B68A72C4-CD85-46BB-9451-89B241CD19AE}" dt="2022-11-22T22:33:06.859" v="19034" actId="20577"/>
          <ac:spMkLst>
            <pc:docMk/>
            <pc:sldMk cId="3272961467" sldId="1214"/>
            <ac:spMk id="3" creationId="{304631F2-B9F4-9A40-D77E-9B3B9A63A3DD}"/>
          </ac:spMkLst>
        </pc:spChg>
        <pc:spChg chg="add mod">
          <ac:chgData name="Stina Ru" userId="a298bcda0a73aae4" providerId="LiveId" clId="{B68A72C4-CD85-46BB-9451-89B241CD19AE}" dt="2022-11-22T19:09:06.032" v="14354" actId="1076"/>
          <ac:spMkLst>
            <pc:docMk/>
            <pc:sldMk cId="3272961467" sldId="1214"/>
            <ac:spMk id="5" creationId="{32B4BF46-03CF-C33C-CE33-B9AD06C58038}"/>
          </ac:spMkLst>
        </pc:spChg>
        <pc:spChg chg="mod">
          <ac:chgData name="Stina Ru" userId="a298bcda0a73aae4" providerId="LiveId" clId="{B68A72C4-CD85-46BB-9451-89B241CD19AE}" dt="2022-11-22T22:32:43.113" v="19030" actId="113"/>
          <ac:spMkLst>
            <pc:docMk/>
            <pc:sldMk cId="3272961467" sldId="1214"/>
            <ac:spMk id="6" creationId="{070F7C74-9112-406B-A0CC-08F6DDA1D2AF}"/>
          </ac:spMkLst>
        </pc:spChg>
        <pc:spChg chg="add mod">
          <ac:chgData name="Stina Ru" userId="a298bcda0a73aae4" providerId="LiveId" clId="{B68A72C4-CD85-46BB-9451-89B241CD19AE}" dt="2022-11-22T22:32:51.975" v="19031" actId="1076"/>
          <ac:spMkLst>
            <pc:docMk/>
            <pc:sldMk cId="3272961467" sldId="1214"/>
            <ac:spMk id="7" creationId="{07B9682D-39EC-F70B-B87C-F9BCB6779319}"/>
          </ac:spMkLst>
        </pc:spChg>
        <pc:spChg chg="add mod">
          <ac:chgData name="Stina Ru" userId="a298bcda0a73aae4" providerId="LiveId" clId="{B68A72C4-CD85-46BB-9451-89B241CD19AE}" dt="2022-11-22T19:10:36.118" v="14561" actId="1076"/>
          <ac:spMkLst>
            <pc:docMk/>
            <pc:sldMk cId="3272961467" sldId="1214"/>
            <ac:spMk id="8" creationId="{96F8E10D-4CA1-0ABD-FE08-DB80F8FC48EF}"/>
          </ac:spMkLst>
        </pc:spChg>
        <pc:spChg chg="add mod">
          <ac:chgData name="Stina Ru" userId="a298bcda0a73aae4" providerId="LiveId" clId="{B68A72C4-CD85-46BB-9451-89B241CD19AE}" dt="2022-11-22T19:11:14.054" v="14658" actId="1076"/>
          <ac:spMkLst>
            <pc:docMk/>
            <pc:sldMk cId="3272961467" sldId="1214"/>
            <ac:spMk id="9" creationId="{1D6CB040-1170-D4FF-FFAD-93DE2B2E161F}"/>
          </ac:spMkLst>
        </pc:spChg>
        <pc:spChg chg="mod">
          <ac:chgData name="Stina Ru" userId="a298bcda0a73aae4" providerId="LiveId" clId="{B68A72C4-CD85-46BB-9451-89B241CD19AE}" dt="2022-11-22T19:12:01.237" v="14698" actId="6549"/>
          <ac:spMkLst>
            <pc:docMk/>
            <pc:sldMk cId="3272961467" sldId="1214"/>
            <ac:spMk id="12" creationId="{13B203F9-1E27-4E57-902E-B40C20ADA7DF}"/>
          </ac:spMkLst>
        </pc:spChg>
      </pc:sldChg>
      <pc:sldChg chg="modSp add mod ord modAnim">
        <pc:chgData name="Stina Ru" userId="a298bcda0a73aae4" providerId="LiveId" clId="{B68A72C4-CD85-46BB-9451-89B241CD19AE}" dt="2022-11-23T10:50:22.313" v="19642"/>
        <pc:sldMkLst>
          <pc:docMk/>
          <pc:sldMk cId="200564227" sldId="1215"/>
        </pc:sldMkLst>
        <pc:spChg chg="mod">
          <ac:chgData name="Stina Ru" userId="a298bcda0a73aae4" providerId="LiveId" clId="{B68A72C4-CD85-46BB-9451-89B241CD19AE}" dt="2022-11-22T19:40:49.642" v="17091" actId="20577"/>
          <ac:spMkLst>
            <pc:docMk/>
            <pc:sldMk cId="200564227" sldId="1215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22:33:55.915" v="19035" actId="1076"/>
          <ac:spMkLst>
            <pc:docMk/>
            <pc:sldMk cId="200564227" sldId="1215"/>
            <ac:spMk id="12" creationId="{13B203F9-1E27-4E57-902E-B40C20ADA7DF}"/>
          </ac:spMkLst>
        </pc:spChg>
      </pc:sldChg>
      <pc:sldChg chg="add ord">
        <pc:chgData name="Stina Ru" userId="a298bcda0a73aae4" providerId="LiveId" clId="{B68A72C4-CD85-46BB-9451-89B241CD19AE}" dt="2022-11-22T19:35:49.243" v="16594"/>
        <pc:sldMkLst>
          <pc:docMk/>
          <pc:sldMk cId="2611510056" sldId="1216"/>
        </pc:sldMkLst>
      </pc:sldChg>
      <pc:sldChg chg="modSp add mod modAnim">
        <pc:chgData name="Stina Ru" userId="a298bcda0a73aae4" providerId="LiveId" clId="{B68A72C4-CD85-46BB-9451-89B241CD19AE}" dt="2022-11-22T22:34:44.119" v="19037"/>
        <pc:sldMkLst>
          <pc:docMk/>
          <pc:sldMk cId="1914125371" sldId="1217"/>
        </pc:sldMkLst>
        <pc:spChg chg="mod">
          <ac:chgData name="Stina Ru" userId="a298bcda0a73aae4" providerId="LiveId" clId="{B68A72C4-CD85-46BB-9451-89B241CD19AE}" dt="2022-11-22T19:35:30.708" v="16590" actId="20577"/>
          <ac:spMkLst>
            <pc:docMk/>
            <pc:sldMk cId="1914125371" sldId="1217"/>
            <ac:spMk id="6" creationId="{070F7C74-9112-406B-A0CC-08F6DDA1D2AF}"/>
          </ac:spMkLst>
        </pc:spChg>
        <pc:cxnChg chg="mod">
          <ac:chgData name="Stina Ru" userId="a298bcda0a73aae4" providerId="LiveId" clId="{B68A72C4-CD85-46BB-9451-89B241CD19AE}" dt="2022-11-22T19:31:56.186" v="16152" actId="1076"/>
          <ac:cxnSpMkLst>
            <pc:docMk/>
            <pc:sldMk cId="1914125371" sldId="1217"/>
            <ac:cxnSpMk id="3" creationId="{BD4D3CBD-BFF4-88D3-C6EA-225461B99B03}"/>
          </ac:cxnSpMkLst>
        </pc:cxnChg>
      </pc:sldChg>
      <pc:sldChg chg="modSp add mod">
        <pc:chgData name="Stina Ru" userId="a298bcda0a73aae4" providerId="LiveId" clId="{B68A72C4-CD85-46BB-9451-89B241CD19AE}" dt="2022-11-23T10:51:00.103" v="19644" actId="20577"/>
        <pc:sldMkLst>
          <pc:docMk/>
          <pc:sldMk cId="1550737097" sldId="1218"/>
        </pc:sldMkLst>
        <pc:spChg chg="mod">
          <ac:chgData name="Stina Ru" userId="a298bcda0a73aae4" providerId="LiveId" clId="{B68A72C4-CD85-46BB-9451-89B241CD19AE}" dt="2022-11-23T10:51:00.103" v="19644" actId="20577"/>
          <ac:spMkLst>
            <pc:docMk/>
            <pc:sldMk cId="1550737097" sldId="1218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19:35:57.545" v="16609" actId="20577"/>
          <ac:spMkLst>
            <pc:docMk/>
            <pc:sldMk cId="1550737097" sldId="1218"/>
            <ac:spMk id="12" creationId="{13B203F9-1E27-4E57-902E-B40C20ADA7DF}"/>
          </ac:spMkLst>
        </pc:spChg>
        <pc:picChg chg="mod">
          <ac:chgData name="Stina Ru" userId="a298bcda0a73aae4" providerId="LiveId" clId="{B68A72C4-CD85-46BB-9451-89B241CD19AE}" dt="2022-11-22T19:43:26.482" v="17244" actId="1076"/>
          <ac:picMkLst>
            <pc:docMk/>
            <pc:sldMk cId="1550737097" sldId="1218"/>
            <ac:picMk id="3" creationId="{262C911B-4570-2234-FD44-069F0716F971}"/>
          </ac:picMkLst>
        </pc:picChg>
        <pc:picChg chg="mod">
          <ac:chgData name="Stina Ru" userId="a298bcda0a73aae4" providerId="LiveId" clId="{B68A72C4-CD85-46BB-9451-89B241CD19AE}" dt="2022-11-22T19:43:20.131" v="17243" actId="1076"/>
          <ac:picMkLst>
            <pc:docMk/>
            <pc:sldMk cId="1550737097" sldId="1218"/>
            <ac:picMk id="7" creationId="{31C0E3EE-B2BC-1703-A482-5FEC88393ED9}"/>
          </ac:picMkLst>
        </pc:picChg>
      </pc:sldChg>
      <pc:sldChg chg="addSp modSp add mod modAnim">
        <pc:chgData name="Stina Ru" userId="a298bcda0a73aae4" providerId="LiveId" clId="{B68A72C4-CD85-46BB-9451-89B241CD19AE}" dt="2022-11-22T22:04:30.197" v="18426"/>
        <pc:sldMkLst>
          <pc:docMk/>
          <pc:sldMk cId="899688223" sldId="1219"/>
        </pc:sldMkLst>
        <pc:spChg chg="mod">
          <ac:chgData name="Stina Ru" userId="a298bcda0a73aae4" providerId="LiveId" clId="{B68A72C4-CD85-46BB-9451-89B241CD19AE}" dt="2022-11-22T22:03:02.643" v="18411" actId="122"/>
          <ac:spMkLst>
            <pc:docMk/>
            <pc:sldMk cId="899688223" sldId="1219"/>
            <ac:spMk id="6" creationId="{070F7C74-9112-406B-A0CC-08F6DDA1D2AF}"/>
          </ac:spMkLst>
        </pc:spChg>
        <pc:spChg chg="mod">
          <ac:chgData name="Stina Ru" userId="a298bcda0a73aae4" providerId="LiveId" clId="{B68A72C4-CD85-46BB-9451-89B241CD19AE}" dt="2022-11-22T22:00:43.853" v="18386" actId="20577"/>
          <ac:spMkLst>
            <pc:docMk/>
            <pc:sldMk cId="899688223" sldId="1219"/>
            <ac:spMk id="12" creationId="{13B203F9-1E27-4E57-902E-B40C20ADA7DF}"/>
          </ac:spMkLst>
        </pc:spChg>
        <pc:picChg chg="mod">
          <ac:chgData name="Stina Ru" userId="a298bcda0a73aae4" providerId="LiveId" clId="{B68A72C4-CD85-46BB-9451-89B241CD19AE}" dt="2022-11-22T22:00:26.060" v="18377" actId="1076"/>
          <ac:picMkLst>
            <pc:docMk/>
            <pc:sldMk cId="899688223" sldId="1219"/>
            <ac:picMk id="2" creationId="{06211389-2BA5-8D4D-84D8-D2030CD0306A}"/>
          </ac:picMkLst>
        </pc:picChg>
        <pc:picChg chg="add mod">
          <ac:chgData name="Stina Ru" userId="a298bcda0a73aae4" providerId="LiveId" clId="{B68A72C4-CD85-46BB-9451-89B241CD19AE}" dt="2022-11-22T22:00:35.449" v="18380" actId="1076"/>
          <ac:picMkLst>
            <pc:docMk/>
            <pc:sldMk cId="899688223" sldId="1219"/>
            <ac:picMk id="3" creationId="{67F02AAD-A6D4-9AD2-92DF-51FC865418AF}"/>
          </ac:picMkLst>
        </pc:picChg>
        <pc:cxnChg chg="add mod">
          <ac:chgData name="Stina Ru" userId="a298bcda0a73aae4" providerId="LiveId" clId="{B68A72C4-CD85-46BB-9451-89B241CD19AE}" dt="2022-11-22T22:03:34.732" v="18418" actId="1076"/>
          <ac:cxnSpMkLst>
            <pc:docMk/>
            <pc:sldMk cId="899688223" sldId="1219"/>
            <ac:cxnSpMk id="7" creationId="{BB7C9930-1969-529D-9523-F99E9B4CC7FD}"/>
          </ac:cxnSpMkLst>
        </pc:cxnChg>
        <pc:cxnChg chg="add mod">
          <ac:chgData name="Stina Ru" userId="a298bcda0a73aae4" providerId="LiveId" clId="{B68A72C4-CD85-46BB-9451-89B241CD19AE}" dt="2022-11-22T22:03:31.151" v="18417" actId="14100"/>
          <ac:cxnSpMkLst>
            <pc:docMk/>
            <pc:sldMk cId="899688223" sldId="1219"/>
            <ac:cxnSpMk id="8" creationId="{96D9E723-57F1-DA01-F39A-01E681D419DD}"/>
          </ac:cxnSpMkLst>
        </pc:cxnChg>
      </pc:sldChg>
      <pc:sldChg chg="addSp delSp modSp add mod">
        <pc:chgData name="Stina Ru" userId="a298bcda0a73aae4" providerId="LiveId" clId="{B68A72C4-CD85-46BB-9451-89B241CD19AE}" dt="2022-11-22T22:30:31.413" v="18985" actId="207"/>
        <pc:sldMkLst>
          <pc:docMk/>
          <pc:sldMk cId="2406902805" sldId="1220"/>
        </pc:sldMkLst>
        <pc:spChg chg="mod">
          <ac:chgData name="Stina Ru" userId="a298bcda0a73aae4" providerId="LiveId" clId="{B68A72C4-CD85-46BB-9451-89B241CD19AE}" dt="2022-11-22T22:30:31.413" v="18985" actId="207"/>
          <ac:spMkLst>
            <pc:docMk/>
            <pc:sldMk cId="2406902805" sldId="1220"/>
            <ac:spMk id="2" creationId="{2E8E55A0-73B3-4565-BA58-ACE5F64229D6}"/>
          </ac:spMkLst>
        </pc:spChg>
        <pc:picChg chg="add mod">
          <ac:chgData name="Stina Ru" userId="a298bcda0a73aae4" providerId="LiveId" clId="{B68A72C4-CD85-46BB-9451-89B241CD19AE}" dt="2022-11-22T22:13:43.519" v="18656" actId="1076"/>
          <ac:picMkLst>
            <pc:docMk/>
            <pc:sldMk cId="2406902805" sldId="1220"/>
            <ac:picMk id="3" creationId="{441C8BD3-2FC8-881A-388E-B58A609FDC57}"/>
          </ac:picMkLst>
        </pc:picChg>
        <pc:picChg chg="del">
          <ac:chgData name="Stina Ru" userId="a298bcda0a73aae4" providerId="LiveId" clId="{B68A72C4-CD85-46BB-9451-89B241CD19AE}" dt="2022-11-22T22:12:38.750" v="18549" actId="478"/>
          <ac:picMkLst>
            <pc:docMk/>
            <pc:sldMk cId="2406902805" sldId="1220"/>
            <ac:picMk id="7" creationId="{A183CBE6-CEFA-A259-F9EE-02998AE2B1B1}"/>
          </ac:picMkLst>
        </pc:picChg>
      </pc:sldChg>
      <pc:sldChg chg="modSp add mod">
        <pc:chgData name="Stina Ru" userId="a298bcda0a73aae4" providerId="LiveId" clId="{B68A72C4-CD85-46BB-9451-89B241CD19AE}" dt="2022-11-22T22:30:23.568" v="18984" actId="207"/>
        <pc:sldMkLst>
          <pc:docMk/>
          <pc:sldMk cId="2676749909" sldId="1221"/>
        </pc:sldMkLst>
        <pc:spChg chg="mod">
          <ac:chgData name="Stina Ru" userId="a298bcda0a73aae4" providerId="LiveId" clId="{B68A72C4-CD85-46BB-9451-89B241CD19AE}" dt="2022-11-22T22:30:23.568" v="18984" actId="207"/>
          <ac:spMkLst>
            <pc:docMk/>
            <pc:sldMk cId="2676749909" sldId="1221"/>
            <ac:spMk id="2" creationId="{2E8E55A0-73B3-4565-BA58-ACE5F64229D6}"/>
          </ac:spMkLst>
        </pc:spChg>
      </pc:sldChg>
      <pc:sldChg chg="modSp add mod">
        <pc:chgData name="Stina Ru" userId="a298bcda0a73aae4" providerId="LiveId" clId="{B68A72C4-CD85-46BB-9451-89B241CD19AE}" dt="2022-11-22T23:06:10.850" v="19045" actId="207"/>
        <pc:sldMkLst>
          <pc:docMk/>
          <pc:sldMk cId="361311843" sldId="1222"/>
        </pc:sldMkLst>
        <pc:spChg chg="mod">
          <ac:chgData name="Stina Ru" userId="a298bcda0a73aae4" providerId="LiveId" clId="{B68A72C4-CD85-46BB-9451-89B241CD19AE}" dt="2022-11-22T23:06:10.850" v="19045" actId="207"/>
          <ac:spMkLst>
            <pc:docMk/>
            <pc:sldMk cId="361311843" sldId="1222"/>
            <ac:spMk id="2" creationId="{2E8E55A0-73B3-4565-BA58-ACE5F64229D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23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err="1"/>
              <a:t>Subline</a:t>
            </a:r>
            <a:r>
              <a:rPr lang="de-DE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svg"/><Relationship Id="rId11" Type="http://schemas.openxmlformats.org/officeDocument/2006/relationships/image" Target="../media/image10.png"/><Relationship Id="rId5" Type="http://schemas.openxmlformats.org/officeDocument/2006/relationships/image" Target="../media/image23.png"/><Relationship Id="rId10" Type="http://schemas.openxmlformats.org/officeDocument/2006/relationships/image" Target="../media/image28.svg"/><Relationship Id="rId4" Type="http://schemas.openxmlformats.org/officeDocument/2006/relationships/image" Target="../media/image22.svg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6336704" cy="1477327"/>
          </a:xfrm>
        </p:spPr>
        <p:txBody>
          <a:bodyPr anchor="t">
            <a:normAutofit/>
          </a:bodyPr>
          <a:lstStyle/>
          <a:p>
            <a:r>
              <a:rPr lang="de-DE" sz="3300" dirty="0"/>
              <a:t>Tutorium zur VL. Sitzung (10) und (11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4) Domestizierung: II Klassiker: Michael Foucault 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0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45332"/>
            <a:ext cx="9117315" cy="43191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Theorie der „</a:t>
            </a:r>
            <a:r>
              <a:rPr lang="de-DE" sz="1800" dirty="0"/>
              <a:t>Disziplinargesellschaft</a:t>
            </a:r>
            <a:r>
              <a:rPr lang="de-DE" sz="1800" b="0" dirty="0"/>
              <a:t>“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Zunehmende Macht, </a:t>
            </a:r>
            <a:r>
              <a:rPr lang="de-DE" sz="1800" b="0" dirty="0"/>
              <a:t>die auf Menschen / Gesellschaft wirkt</a:t>
            </a:r>
          </a:p>
          <a:p>
            <a:pPr marL="285750" indent="-285750">
              <a:lnSpc>
                <a:spcPct val="100000"/>
              </a:lnSpc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ieht man anhand des „Prototyps“: </a:t>
            </a:r>
            <a:r>
              <a:rPr lang="de-DE" sz="1800" dirty="0"/>
              <a:t>Gefängnis </a:t>
            </a:r>
            <a:r>
              <a:rPr lang="de-DE" sz="1800" b="0" dirty="0"/>
              <a:t>    </a:t>
            </a:r>
            <a:r>
              <a:rPr lang="de-DE" sz="1600" b="0" dirty="0"/>
              <a:t>I: Permanente Aufsicht</a:t>
            </a:r>
          </a:p>
          <a:p>
            <a:pPr>
              <a:lnSpc>
                <a:spcPct val="100000"/>
              </a:lnSpc>
              <a:spcAft>
                <a:spcPts val="50"/>
              </a:spcAft>
            </a:pPr>
            <a:r>
              <a:rPr lang="de-DE" sz="1600" b="0" dirty="0"/>
              <a:t>                                                                                             II: Überwachung</a:t>
            </a:r>
          </a:p>
          <a:p>
            <a:pPr>
              <a:lnSpc>
                <a:spcPct val="100000"/>
              </a:lnSpc>
              <a:spcAft>
                <a:spcPts val="50"/>
              </a:spcAft>
            </a:pPr>
            <a:r>
              <a:rPr lang="de-DE" sz="1600" b="0" dirty="0"/>
              <a:t>                                                                                             III: Disziplin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ergleich: </a:t>
            </a:r>
            <a:r>
              <a:rPr lang="de-DE" sz="1800" dirty="0"/>
              <a:t>Gesellschaft wie </a:t>
            </a:r>
            <a:r>
              <a:rPr lang="de-DE" sz="1800" b="0" dirty="0"/>
              <a:t>eine</a:t>
            </a:r>
            <a:r>
              <a:rPr lang="de-DE" sz="1800" dirty="0"/>
              <a:t> großes Gefängnis </a:t>
            </a:r>
            <a:r>
              <a:rPr lang="de-DE" sz="1800" dirty="0">
                <a:sym typeface="Wingdings" panose="05000000000000000000" pitchFamily="2" charset="2"/>
              </a:rPr>
              <a:t> überall ‚Disziplinarmacht‘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Beispiele: </a:t>
            </a:r>
            <a:r>
              <a:rPr lang="de-DE" sz="1600" dirty="0">
                <a:sym typeface="Wingdings" panose="05000000000000000000" pitchFamily="2" charset="2"/>
              </a:rPr>
              <a:t>Verhaltensregulierungen </a:t>
            </a:r>
            <a:r>
              <a:rPr lang="de-DE" sz="1600" b="0" dirty="0">
                <a:sym typeface="Wingdings" panose="05000000000000000000" pitchFamily="2" charset="2"/>
              </a:rPr>
              <a:t>in: </a:t>
            </a:r>
          </a:p>
          <a:p>
            <a:pPr>
              <a:lnSpc>
                <a:spcPct val="100000"/>
              </a:lnSpc>
              <a:spcAft>
                <a:spcPts val="50"/>
              </a:spcAft>
            </a:pPr>
            <a:r>
              <a:rPr lang="de-DE" sz="1600" b="0" dirty="0">
                <a:sym typeface="Wingdings" panose="05000000000000000000" pitchFamily="2" charset="2"/>
              </a:rPr>
              <a:t>                                         Schulen Pünktlichkeit, Anwesenheitspflicht, Notensystem, Still sitzen</a:t>
            </a:r>
          </a:p>
          <a:p>
            <a:pPr>
              <a:lnSpc>
                <a:spcPct val="100000"/>
              </a:lnSpc>
              <a:spcAft>
                <a:spcPts val="50"/>
              </a:spcAft>
            </a:pPr>
            <a:r>
              <a:rPr lang="de-DE" sz="1600" b="0" dirty="0">
                <a:sym typeface="Wingdings" panose="05000000000000000000" pitchFamily="2" charset="2"/>
              </a:rPr>
              <a:t>                                         Geschäfte  Ladenöffnungszeiten, kein Diebstahl</a:t>
            </a:r>
          </a:p>
          <a:p>
            <a:pPr>
              <a:lnSpc>
                <a:spcPct val="100000"/>
              </a:lnSpc>
              <a:spcAft>
                <a:spcPts val="50"/>
              </a:spcAft>
            </a:pPr>
            <a:r>
              <a:rPr lang="de-DE" sz="1600" b="0" dirty="0">
                <a:sym typeface="Wingdings" panose="05000000000000000000" pitchFamily="2" charset="2"/>
              </a:rPr>
              <a:t>                                         Unternehmen  Coachings, Punktesysteme nach Leistung</a:t>
            </a:r>
          </a:p>
          <a:p>
            <a:pPr>
              <a:lnSpc>
                <a:spcPct val="100000"/>
              </a:lnSpc>
              <a:spcAft>
                <a:spcPts val="50"/>
              </a:spcAft>
            </a:pPr>
            <a:r>
              <a:rPr lang="de-DE" sz="1600" b="0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lnSpc>
                <a:spcPct val="100000"/>
              </a:lnSpc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  Die Macht gilt als </a:t>
            </a:r>
            <a:r>
              <a:rPr lang="de-DE" sz="1600" dirty="0">
                <a:sym typeface="Wingdings" panose="05000000000000000000" pitchFamily="2" charset="2"/>
              </a:rPr>
              <a:t>irreversibel</a:t>
            </a:r>
            <a:r>
              <a:rPr lang="de-DE" sz="1600" b="0" dirty="0">
                <a:sym typeface="Wingdings" panose="05000000000000000000" pitchFamily="2" charset="2"/>
              </a:rPr>
              <a:t> und </a:t>
            </a:r>
            <a:r>
              <a:rPr lang="de-DE" sz="1600" dirty="0">
                <a:sym typeface="Wingdings" panose="05000000000000000000" pitchFamily="2" charset="2"/>
              </a:rPr>
              <a:t>unsichtbar</a:t>
            </a:r>
            <a:r>
              <a:rPr lang="de-DE" sz="1600" b="0" dirty="0">
                <a:sym typeface="Wingdings" panose="05000000000000000000" pitchFamily="2" charset="2"/>
              </a:rPr>
              <a:t>, </a:t>
            </a:r>
            <a:r>
              <a:rPr lang="de-DE" sz="1600" dirty="0">
                <a:sym typeface="Wingdings" panose="05000000000000000000" pitchFamily="2" charset="2"/>
              </a:rPr>
              <a:t>steigert</a:t>
            </a:r>
            <a:r>
              <a:rPr lang="de-DE" sz="1600" b="0" dirty="0">
                <a:sym typeface="Wingdings" panose="05000000000000000000" pitchFamily="2" charset="2"/>
              </a:rPr>
              <a:t> aber auch </a:t>
            </a:r>
            <a:r>
              <a:rPr lang="de-DE" sz="1600" dirty="0">
                <a:sym typeface="Wingdings" panose="05000000000000000000" pitchFamily="2" charset="2"/>
              </a:rPr>
              <a:t>Leistungsfähigkeiten</a:t>
            </a:r>
            <a:endParaRPr lang="de-DE" sz="1600" dirty="0"/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2" name="Grafik 1" descr="Männliches Profil mit einfarbiger Füllung">
            <a:extLst>
              <a:ext uri="{FF2B5EF4-FFF2-40B4-BE49-F238E27FC236}">
                <a16:creationId xmlns:a16="http://schemas.microsoft.com/office/drawing/2014/main" id="{06211389-2BA5-8D4D-84D8-D2030CD030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43333" y="-54481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79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4) Domestizierung: I und II Klassiker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1" y="745332"/>
            <a:ext cx="8287600" cy="4319104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dirty="0"/>
          </a:p>
          <a:p>
            <a:pPr algn="ctr">
              <a:lnSpc>
                <a:spcPct val="100000"/>
              </a:lnSpc>
            </a:pPr>
            <a:r>
              <a:rPr lang="de-DE" sz="1800" dirty="0"/>
              <a:t>„Zivilisierungsgesellschaft“  vs. Disziplinargesellschaft</a:t>
            </a:r>
            <a:r>
              <a:rPr lang="de-DE" sz="1800" b="0" dirty="0"/>
              <a:t>“ </a:t>
            </a:r>
          </a:p>
          <a:p>
            <a:pPr algn="ctr">
              <a:lnSpc>
                <a:spcPct val="100000"/>
              </a:lnSpc>
            </a:pPr>
            <a:r>
              <a:rPr lang="de-DE" altLang="de-DE" sz="1800" b="0" dirty="0">
                <a:latin typeface="Arial" panose="020B0604020202020204" pitchFamily="34" charset="0"/>
                <a:cs typeface="Arial" panose="020B0604020202020204" pitchFamily="34" charset="0"/>
              </a:rPr>
              <a:t> Norbert Elias                           Michael Foucault</a:t>
            </a: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6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600" b="0" dirty="0">
                <a:sym typeface="Wingdings" panose="05000000000000000000" pitchFamily="2" charset="2"/>
              </a:rPr>
              <a:t>                                                         Unterschiede?</a:t>
            </a:r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algn="ctr">
              <a:lnSpc>
                <a:spcPct val="100000"/>
              </a:lnSpc>
            </a:pPr>
            <a:r>
              <a:rPr lang="de-DE" sz="1800" b="0" dirty="0"/>
              <a:t>Selbstzwang?</a:t>
            </a:r>
          </a:p>
          <a:p>
            <a:pPr algn="ctr">
              <a:lnSpc>
                <a:spcPct val="100000"/>
              </a:lnSpc>
            </a:pPr>
            <a:r>
              <a:rPr lang="de-DE" sz="1800" b="0" dirty="0"/>
              <a:t>Fremdzwang?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2" name="Grafik 1" descr="Männliches Profil mit einfarbiger Füllung">
            <a:extLst>
              <a:ext uri="{FF2B5EF4-FFF2-40B4-BE49-F238E27FC236}">
                <a16:creationId xmlns:a16="http://schemas.microsoft.com/office/drawing/2014/main" id="{06211389-2BA5-8D4D-84D8-D2030CD030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09173" y="1858826"/>
            <a:ext cx="593227" cy="593227"/>
          </a:xfrm>
          <a:prstGeom prst="rect">
            <a:avLst/>
          </a:prstGeom>
        </p:spPr>
      </p:pic>
      <p:pic>
        <p:nvPicPr>
          <p:cNvPr id="3" name="Grafik 2" descr="Männliches Profil mit einfarbiger Füllung">
            <a:extLst>
              <a:ext uri="{FF2B5EF4-FFF2-40B4-BE49-F238E27FC236}">
                <a16:creationId xmlns:a16="http://schemas.microsoft.com/office/drawing/2014/main" id="{67F02AAD-A6D4-9AD2-92DF-51FC865418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41601" y="1862483"/>
            <a:ext cx="593227" cy="593227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B7C9930-1969-529D-9523-F99E9B4CC7FD}"/>
              </a:ext>
            </a:extLst>
          </p:cNvPr>
          <p:cNvCxnSpPr/>
          <p:nvPr/>
        </p:nvCxnSpPr>
        <p:spPr>
          <a:xfrm flipH="1" flipV="1">
            <a:off x="3038483" y="2652379"/>
            <a:ext cx="740720" cy="102616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96D9E723-57F1-DA01-F39A-01E681D419DD}"/>
              </a:ext>
            </a:extLst>
          </p:cNvPr>
          <p:cNvCxnSpPr>
            <a:cxnSpLocks/>
          </p:cNvCxnSpPr>
          <p:nvPr/>
        </p:nvCxnSpPr>
        <p:spPr>
          <a:xfrm flipV="1">
            <a:off x="5364798" y="2661920"/>
            <a:ext cx="544375" cy="135158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9688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bivalox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der Domestiz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830492"/>
            <a:ext cx="8494104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Beherrschung der Natu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Menschen errichten sich ‚künstliche‘ Welten in der Natur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400" b="0" dirty="0">
                <a:sym typeface="Wingdings" panose="05000000000000000000" pitchFamily="2" charset="2"/>
              </a:rPr>
              <a:t>Gleichzeitig</a:t>
            </a:r>
          </a:p>
          <a:p>
            <a:pPr>
              <a:lnSpc>
                <a:spcPct val="100000"/>
              </a:lnSpc>
            </a:pPr>
            <a:endParaRPr lang="de-DE" sz="14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Zunehmende Abhängigkeit von Technik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Eigene Techniken binden/ ‚fesseln‘ den Menschen (z.B. Smartphone)</a:t>
            </a: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Unbeherrschbare Momente der Natur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Naturkatastrophe wie Hochwasser/ Wirbelstürme oder Ressourcenknappheit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748" y="2750436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749" y="748872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31745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Zusammenfassung der vier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vibaloxa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830492"/>
            <a:ext cx="8494104" cy="4029508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Differenzierung                         </a:t>
            </a:r>
            <a:r>
              <a:rPr lang="de-DE" sz="1400" b="0" dirty="0">
                <a:sym typeface="Wingdings" panose="05000000000000000000" pitchFamily="2" charset="2"/>
              </a:rPr>
              <a:t>Gleichzeitig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2) Individualisierung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3) Rationalisierung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4) Domestiz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3169" y="543583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97803" y="549883"/>
            <a:ext cx="457199" cy="457199"/>
          </a:xfrm>
          <a:prstGeom prst="rect">
            <a:avLst/>
          </a:prstGeom>
        </p:spPr>
      </p:pic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FBFA6A4C-A9A1-A035-9E44-704459698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428722"/>
              </p:ext>
            </p:extLst>
          </p:nvPr>
        </p:nvGraphicFramePr>
        <p:xfrm>
          <a:off x="924000" y="1183672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1CCAF2DD-8499-68B5-1240-379541FAB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9388866"/>
              </p:ext>
            </p:extLst>
          </p:nvPr>
        </p:nvGraphicFramePr>
        <p:xfrm>
          <a:off x="919110" y="2003320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4A0793CC-C52F-C9C5-6502-BCD564447E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808432"/>
              </p:ext>
            </p:extLst>
          </p:nvPr>
        </p:nvGraphicFramePr>
        <p:xfrm>
          <a:off x="919110" y="2875456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30ECD52-2243-AFE9-7DF5-3EFDE4F385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469954"/>
              </p:ext>
            </p:extLst>
          </p:nvPr>
        </p:nvGraphicFramePr>
        <p:xfrm>
          <a:off x="919110" y="3743082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pic>
        <p:nvPicPr>
          <p:cNvPr id="14" name="Grafik 13" descr="Ausrufezeichen mit einfarbiger Füllung">
            <a:extLst>
              <a:ext uri="{FF2B5EF4-FFF2-40B4-BE49-F238E27FC236}">
                <a16:creationId xmlns:a16="http://schemas.microsoft.com/office/drawing/2014/main" id="{92F4C46F-BF9C-F90A-7798-A149A06C7D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29995" y="71108"/>
            <a:ext cx="591771" cy="591771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C5BE611-7CAE-FFE8-2B6C-A5B7AC5ED894}"/>
              </a:ext>
            </a:extLst>
          </p:cNvPr>
          <p:cNvSpPr txBox="1"/>
          <p:nvPr/>
        </p:nvSpPr>
        <p:spPr>
          <a:xfrm>
            <a:off x="919110" y="1287691"/>
            <a:ext cx="387640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>
                <a:solidFill>
                  <a:schemeClr val="bg1"/>
                </a:solidFill>
              </a:rPr>
              <a:t>Zunehmende Arbeitsteilung/ Spezifizierun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D76BF35-C1EB-6039-BD4F-BE3D2D0B538F}"/>
              </a:ext>
            </a:extLst>
          </p:cNvPr>
          <p:cNvSpPr txBox="1"/>
          <p:nvPr/>
        </p:nvSpPr>
        <p:spPr>
          <a:xfrm>
            <a:off x="919110" y="2900403"/>
            <a:ext cx="387640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bg1"/>
                </a:solidFill>
              </a:rPr>
              <a:t>Zunehmenden Beherrschung, Systematisierung und Ordnung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017CCF4-F135-0EEF-DED1-575CCA1324EE}"/>
              </a:ext>
            </a:extLst>
          </p:cNvPr>
          <p:cNvSpPr txBox="1"/>
          <p:nvPr/>
        </p:nvSpPr>
        <p:spPr>
          <a:xfrm>
            <a:off x="919110" y="3733271"/>
            <a:ext cx="387640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bg1"/>
                </a:solidFill>
              </a:rPr>
              <a:t>Beherrschung der Natur (z.B. moderne Flugverkehr über die ganze Welt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7333857-E04C-BEF6-6CA0-FA265C834A32}"/>
              </a:ext>
            </a:extLst>
          </p:cNvPr>
          <p:cNvSpPr txBox="1"/>
          <p:nvPr/>
        </p:nvSpPr>
        <p:spPr>
          <a:xfrm>
            <a:off x="1020539" y="2090059"/>
            <a:ext cx="387640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>
                <a:solidFill>
                  <a:schemeClr val="bg1"/>
                </a:solidFill>
              </a:rPr>
              <a:t>Selbständigkeit/ Handlungsfreihei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66DD873-FDB0-E26B-3FF9-70902D6F2BD5}"/>
              </a:ext>
            </a:extLst>
          </p:cNvPr>
          <p:cNvSpPr txBox="1"/>
          <p:nvPr/>
        </p:nvSpPr>
        <p:spPr>
          <a:xfrm>
            <a:off x="4867960" y="1260737"/>
            <a:ext cx="314827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Gestiegener Koordinationsaufwand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D9326C-340E-03C6-599C-AC979F85A096}"/>
              </a:ext>
            </a:extLst>
          </p:cNvPr>
          <p:cNvSpPr txBox="1"/>
          <p:nvPr/>
        </p:nvSpPr>
        <p:spPr>
          <a:xfrm>
            <a:off x="4989419" y="3739965"/>
            <a:ext cx="314827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Abhängigkeit von der Technik/  Unberechenbarkeit der Natu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A72DE20-4534-C659-FD1A-FCD83C4EDEC0}"/>
              </a:ext>
            </a:extLst>
          </p:cNvPr>
          <p:cNvSpPr txBox="1"/>
          <p:nvPr/>
        </p:nvSpPr>
        <p:spPr>
          <a:xfrm>
            <a:off x="5020359" y="2858779"/>
            <a:ext cx="3468855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Verschwimmen der Grenzen durch Pluralisierung und Generalisierungen</a:t>
            </a:r>
          </a:p>
          <a:p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AA6D104-AB3C-DF20-0924-2D3C6FD35059}"/>
              </a:ext>
            </a:extLst>
          </p:cNvPr>
          <p:cNvSpPr txBox="1"/>
          <p:nvPr/>
        </p:nvSpPr>
        <p:spPr>
          <a:xfrm>
            <a:off x="4902228" y="2095084"/>
            <a:ext cx="33226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Orientierungslosigkeit/ fehlender Halt</a:t>
            </a:r>
          </a:p>
          <a:p>
            <a:endParaRPr lang="de-DE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45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389" y="1023490"/>
            <a:ext cx="6919784" cy="2057561"/>
          </a:xfrm>
        </p:spPr>
        <p:txBody>
          <a:bodyPr/>
          <a:lstStyle/>
          <a:p>
            <a:pPr algn="ctr"/>
            <a:br>
              <a:rPr lang="de-DE" dirty="0"/>
            </a:br>
            <a:br>
              <a:rPr lang="de-DE" dirty="0"/>
            </a:br>
            <a:r>
              <a:rPr lang="de-DE" dirty="0"/>
              <a:t>Kapitel 11:</a:t>
            </a:r>
            <a:br>
              <a:rPr lang="de-DE" dirty="0"/>
            </a:br>
            <a:r>
              <a:rPr lang="de-DE" dirty="0"/>
              <a:t> Fortsetzung des Blicks auf Modernisierung</a:t>
            </a: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21395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Modernisierung: Das Acht-Faktoren-Modell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360" y="830492"/>
            <a:ext cx="8676640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Erweiterung</a:t>
            </a:r>
            <a:r>
              <a:rPr lang="de-DE" sz="1800" b="0" dirty="0"/>
              <a:t> des vier Perspektiven Modells um </a:t>
            </a:r>
            <a:r>
              <a:rPr lang="de-DE" sz="1800" dirty="0"/>
              <a:t>vier weitere Perspektiven</a:t>
            </a:r>
          </a:p>
          <a:p>
            <a:pPr>
              <a:lnSpc>
                <a:spcPct val="100000"/>
              </a:lnSpc>
            </a:pPr>
            <a:r>
              <a:rPr lang="de-DE" sz="1200" b="0" dirty="0"/>
              <a:t>Zur Erinnerung                            </a:t>
            </a:r>
            <a:r>
              <a:rPr lang="de-DE" sz="1800" b="0" dirty="0"/>
              <a:t>Nun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r>
              <a:rPr lang="de-DE" altLang="de-DE" sz="1200" b="0" dirty="0">
                <a:cs typeface="Arial" panose="020B0604020202020204" pitchFamily="34" charset="0"/>
              </a:rPr>
              <a:t>van der Loo &amp; van </a:t>
            </a:r>
            <a:r>
              <a:rPr lang="de-DE" altLang="de-DE" sz="1200" b="0" dirty="0" err="1">
                <a:cs typeface="Arial" panose="020B0604020202020204" pitchFamily="34" charset="0"/>
              </a:rPr>
              <a:t>Reijen</a:t>
            </a:r>
            <a:r>
              <a:rPr lang="de-DE" altLang="de-DE" sz="1200" b="0" dirty="0">
                <a:cs typeface="Arial" panose="020B0604020202020204" pitchFamily="34" charset="0"/>
              </a:rPr>
              <a:t> (1997)</a:t>
            </a:r>
          </a:p>
          <a:p>
            <a:pPr>
              <a:lnSpc>
                <a:spcPct val="100000"/>
              </a:lnSpc>
            </a:pPr>
            <a:endParaRPr lang="de-DE" altLang="de-DE" sz="1200" b="0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altLang="de-DE" sz="1200" b="0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altLang="de-DE" sz="1200" b="0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de-DE" altLang="de-DE" sz="1200" b="0" dirty="0">
                <a:cs typeface="Arial" panose="020B0604020202020204" pitchFamily="34" charset="0"/>
              </a:rPr>
              <a:t>                                                                                                                                 </a:t>
            </a:r>
            <a:r>
              <a:rPr lang="de-DE" altLang="de-DE" sz="1200" b="0" dirty="0" err="1">
                <a:cs typeface="Arial" panose="020B0604020202020204" pitchFamily="34" charset="0"/>
              </a:rPr>
              <a:t>Degele</a:t>
            </a:r>
            <a:r>
              <a:rPr lang="de-DE" altLang="de-DE" sz="1200" b="0" dirty="0">
                <a:cs typeface="Arial" panose="020B0604020202020204" pitchFamily="34" charset="0"/>
              </a:rPr>
              <a:t> &amp; Dries (2005)</a:t>
            </a:r>
            <a:br>
              <a:rPr lang="de-DE" sz="1200" b="1" dirty="0"/>
            </a:b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r>
              <a:rPr lang="de-DE" sz="1800" b="0" i="1" dirty="0"/>
              <a:t>                                                                                    </a:t>
            </a:r>
            <a:r>
              <a:rPr lang="de-DE" altLang="de-DE" sz="1200" b="0" dirty="0" err="1">
                <a:cs typeface="Arial" panose="020B0604020202020204" pitchFamily="34" charset="0"/>
              </a:rPr>
              <a:t>Degele</a:t>
            </a:r>
            <a:r>
              <a:rPr lang="de-DE" altLang="de-DE" sz="1200" b="0" dirty="0">
                <a:cs typeface="Arial" panose="020B0604020202020204" pitchFamily="34" charset="0"/>
              </a:rPr>
              <a:t> &amp; Dries (2005)</a:t>
            </a: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DE60D61-39B0-AF03-2566-8CF5EDACD8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0018" y="1423403"/>
            <a:ext cx="2783963" cy="2735686"/>
          </a:xfrm>
          <a:prstGeom prst="rect">
            <a:avLst/>
          </a:prstGeom>
        </p:spPr>
      </p:pic>
      <p:pic>
        <p:nvPicPr>
          <p:cNvPr id="11" name="Grafik 10" descr="Marke 1 mit einfarbiger Füllung">
            <a:extLst>
              <a:ext uri="{FF2B5EF4-FFF2-40B4-BE49-F238E27FC236}">
                <a16:creationId xmlns:a16="http://schemas.microsoft.com/office/drawing/2014/main" id="{DBD8417F-D73E-8ECA-FA61-B08A977C01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58463" y="4065914"/>
            <a:ext cx="543849" cy="543849"/>
          </a:xfrm>
          <a:prstGeom prst="rect">
            <a:avLst/>
          </a:prstGeom>
        </p:spPr>
      </p:pic>
      <p:pic>
        <p:nvPicPr>
          <p:cNvPr id="16" name="Grafik 15" descr="Abzeichen mit einfarbiger Füllung">
            <a:extLst>
              <a:ext uri="{FF2B5EF4-FFF2-40B4-BE49-F238E27FC236}">
                <a16:creationId xmlns:a16="http://schemas.microsoft.com/office/drawing/2014/main" id="{E984C7D3-673F-892E-271C-BF096AFEEE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7668" y="1030442"/>
            <a:ext cx="543853" cy="543853"/>
          </a:xfrm>
          <a:prstGeom prst="rect">
            <a:avLst/>
          </a:prstGeom>
        </p:spPr>
      </p:pic>
      <p:pic>
        <p:nvPicPr>
          <p:cNvPr id="18" name="Grafik 17" descr="Marke 3 mit einfarbiger Füllung">
            <a:extLst>
              <a:ext uri="{FF2B5EF4-FFF2-40B4-BE49-F238E27FC236}">
                <a16:creationId xmlns:a16="http://schemas.microsoft.com/office/drawing/2014/main" id="{A83B4A4C-3676-388B-5EDF-6AC4AA0E85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07895" y="2454535"/>
            <a:ext cx="558800" cy="558800"/>
          </a:xfrm>
          <a:prstGeom prst="rect">
            <a:avLst/>
          </a:prstGeom>
        </p:spPr>
      </p:pic>
      <p:pic>
        <p:nvPicPr>
          <p:cNvPr id="20" name="Grafik 19" descr="Marke 4 mit einfarbiger Füllung">
            <a:extLst>
              <a:ext uri="{FF2B5EF4-FFF2-40B4-BE49-F238E27FC236}">
                <a16:creationId xmlns:a16="http://schemas.microsoft.com/office/drawing/2014/main" id="{0611D04B-2713-D0CC-3510-DD32D8B41C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2514" y="2454535"/>
            <a:ext cx="558800" cy="558800"/>
          </a:xfrm>
          <a:prstGeom prst="rect">
            <a:avLst/>
          </a:prstGeom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564E7BE5-93E7-9856-5FE0-A2FFEAE1428E}"/>
              </a:ext>
            </a:extLst>
          </p:cNvPr>
          <p:cNvCxnSpPr/>
          <p:nvPr/>
        </p:nvCxnSpPr>
        <p:spPr>
          <a:xfrm>
            <a:off x="3413888" y="1279949"/>
            <a:ext cx="83299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13F68496-CC49-9D3E-EBBB-C7BE4D0BB146}"/>
              </a:ext>
            </a:extLst>
          </p:cNvPr>
          <p:cNvCxnSpPr/>
          <p:nvPr/>
        </p:nvCxnSpPr>
        <p:spPr>
          <a:xfrm>
            <a:off x="3402896" y="4329146"/>
            <a:ext cx="83299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2D178592-7518-F812-9CD0-C088C2CC6B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3910" y="1501950"/>
            <a:ext cx="1754953" cy="106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98458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r>
              <a:rPr lang="de-DE" dirty="0"/>
              <a:t>(Erweiterung)</a:t>
            </a:r>
            <a:br>
              <a:rPr lang="de-DE" dirty="0"/>
            </a:br>
            <a:br>
              <a:rPr lang="de-DE" b="1" dirty="0"/>
            </a:br>
            <a:r>
              <a:rPr lang="de-DE" b="1" dirty="0">
                <a:solidFill>
                  <a:schemeClr val="accent2"/>
                </a:solidFill>
              </a:rPr>
              <a:t>I: Beschleunigung</a:t>
            </a:r>
            <a:br>
              <a:rPr lang="de-DE" b="1" dirty="0"/>
            </a:br>
            <a:r>
              <a:rPr lang="de-DE" b="1" dirty="0"/>
              <a:t>II: Globalisierung</a:t>
            </a:r>
            <a:br>
              <a:rPr lang="de-DE" b="1" dirty="0"/>
            </a:br>
            <a:r>
              <a:rPr lang="de-DE" dirty="0"/>
              <a:t>III: Integration</a:t>
            </a:r>
            <a:br>
              <a:rPr lang="de-DE" dirty="0"/>
            </a:br>
            <a:r>
              <a:rPr lang="de-DE" dirty="0"/>
              <a:t>IIII: </a:t>
            </a:r>
            <a:r>
              <a:rPr lang="de-DE" dirty="0" err="1"/>
              <a:t>Vergeschlechtlichung</a:t>
            </a: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41C8BD3-2FC8-881A-388E-B58A609FD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4178" y="793483"/>
            <a:ext cx="2783963" cy="2735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028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: 1) Beschleunigung 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7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830492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/>
              <a:t>Beschleunigung = Geschwindigkeits- und Mengenzunahme pro Zeiteinhei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Beispiele: </a:t>
            </a:r>
            <a:r>
              <a:rPr lang="de-DE" sz="1800" b="0" i="1" dirty="0"/>
              <a:t>Kommunikationsmenge auf </a:t>
            </a:r>
            <a:r>
              <a:rPr lang="de-DE" sz="1800" b="0" i="1" dirty="0" err="1"/>
              <a:t>Whats</a:t>
            </a:r>
            <a:r>
              <a:rPr lang="de-DE" sz="1800" b="0" i="1" dirty="0"/>
              <a:t>-App, Warenverkehr bei Amazon, wachsender Wechsel von Liebesbeziehungen 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Drei Bereiche </a:t>
            </a:r>
            <a:r>
              <a:rPr lang="de-DE" sz="1800" dirty="0"/>
              <a:t>sozialer Beschleunigung: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1) </a:t>
            </a:r>
            <a:r>
              <a:rPr lang="de-DE" sz="1800" dirty="0"/>
              <a:t>Technische</a:t>
            </a:r>
            <a:r>
              <a:rPr lang="de-DE" sz="1800" b="0" dirty="0"/>
              <a:t> Beschleunigung </a:t>
            </a:r>
            <a:r>
              <a:rPr lang="de-DE" sz="1800" b="0" dirty="0">
                <a:sym typeface="Wingdings" panose="05000000000000000000" pitchFamily="2" charset="2"/>
              </a:rPr>
              <a:t> Reisegeschwindigkeiten </a:t>
            </a:r>
            <a:endParaRPr lang="de-DE" sz="1800" b="0" dirty="0"/>
          </a:p>
          <a:p>
            <a:pPr>
              <a:lnSpc>
                <a:spcPct val="100000"/>
              </a:lnSpc>
            </a:pPr>
            <a:r>
              <a:rPr lang="de-DE" sz="1800" b="0" dirty="0"/>
              <a:t>2) Beschleunigung des </a:t>
            </a:r>
            <a:r>
              <a:rPr lang="de-DE" sz="1800" dirty="0"/>
              <a:t>sozialen Wandels </a:t>
            </a:r>
            <a:r>
              <a:rPr lang="de-DE" sz="1800" b="0" dirty="0">
                <a:sym typeface="Wingdings" panose="05000000000000000000" pitchFamily="2" charset="2"/>
              </a:rPr>
              <a:t> Schnelllebigkeit von Mode, Jobwechsel</a:t>
            </a:r>
            <a:r>
              <a:rPr lang="de-DE" sz="1800" b="0" dirty="0"/>
              <a:t>  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3) Beschleunigung des </a:t>
            </a:r>
            <a:r>
              <a:rPr lang="de-DE" sz="1800" dirty="0"/>
              <a:t>individuellen Lebenstempos </a:t>
            </a:r>
            <a:r>
              <a:rPr lang="de-DE" sz="1800" b="0" dirty="0">
                <a:sym typeface="Wingdings" panose="05000000000000000000" pitchFamily="2" charset="2"/>
              </a:rPr>
              <a:t> Fast-Food, Speed-Dating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Messbar durch natürliche und soziale Rhythmen</a:t>
            </a:r>
            <a:r>
              <a:rPr lang="de-DE" sz="1800" b="0" i="1" dirty="0">
                <a:sym typeface="Wingdings" panose="05000000000000000000" pitchFamily="2" charset="2"/>
              </a:rPr>
              <a:t> (Tag, Jahreszeiten, Riten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Innere Uhr und Pünktlichkeit als Selbstzwang</a:t>
            </a: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3801932027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: Ende der Beschleunigungsspirale?</a:t>
            </a:r>
            <a:b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8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80496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Dreifacher Wirklichkeitsschwund</a:t>
            </a:r>
          </a:p>
          <a:p>
            <a:pPr>
              <a:lnSpc>
                <a:spcPct val="100000"/>
              </a:lnSpc>
            </a:pPr>
            <a:r>
              <a:rPr lang="de-DE" sz="1800" dirty="0"/>
              <a:t>1) Raumschrumpfung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der Raum geht als Orientierung verloren (z.B. Internet, Vernetzung der Welt)</a:t>
            </a:r>
          </a:p>
          <a:p>
            <a:pPr>
              <a:lnSpc>
                <a:spcPct val="100000"/>
              </a:lnSpc>
            </a:pPr>
            <a:r>
              <a:rPr lang="de-DE" sz="1800" dirty="0"/>
              <a:t>2) Gegenwartsschrumpfung (Zeit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Durch Schnelllebigkeit schrumpft die Gegenwart (z.B. Überschuss an aktuellen Nachrichten)</a:t>
            </a:r>
          </a:p>
          <a:p>
            <a:pPr>
              <a:lnSpc>
                <a:spcPct val="100000"/>
              </a:lnSpc>
            </a:pPr>
            <a:r>
              <a:rPr lang="de-DE" sz="1800" dirty="0"/>
              <a:t>3) Überford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Zeitstruktur kollidiert mit natürlichem Rhythmus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Überangebot an sinnlichen Reizen &amp; Lebensstiloptionen (Folge </a:t>
            </a:r>
            <a:r>
              <a:rPr lang="de-DE" sz="1800" b="0" dirty="0" err="1"/>
              <a:t>Bournout</a:t>
            </a:r>
            <a:r>
              <a:rPr lang="de-DE" sz="1800" b="0" dirty="0"/>
              <a:t>)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2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3056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177039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bivalox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der Beschleunig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9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626866"/>
            <a:ext cx="8494104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  </a:t>
            </a:r>
            <a:r>
              <a:rPr lang="de-DE" sz="1800" b="0" dirty="0">
                <a:sym typeface="Wingdings" panose="05000000000000000000" pitchFamily="2" charset="2"/>
              </a:rPr>
              <a:t>zwei gegenläufige Tendenzen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Moderne Techniken entlasten </a:t>
            </a:r>
            <a:r>
              <a:rPr lang="de-DE" sz="1800" b="0" dirty="0">
                <a:sym typeface="Wingdings" panose="05000000000000000000" pitchFamily="2" charset="2"/>
              </a:rPr>
              <a:t>zeitlich</a:t>
            </a:r>
            <a:r>
              <a:rPr lang="de-DE" sz="1800" dirty="0">
                <a:sym typeface="Wingdings" panose="05000000000000000000" pitchFamily="2" charset="2"/>
              </a:rPr>
              <a:t> </a:t>
            </a:r>
            <a:r>
              <a:rPr lang="de-DE" sz="1800" b="0" dirty="0">
                <a:sym typeface="Wingdings" panose="05000000000000000000" pitchFamily="2" charset="2"/>
              </a:rPr>
              <a:t>enorm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Steigern </a:t>
            </a:r>
            <a:r>
              <a:rPr lang="de-DE" sz="1800" b="0" dirty="0">
                <a:sym typeface="Wingdings" panose="05000000000000000000" pitchFamily="2" charset="2"/>
              </a:rPr>
              <a:t>Möglichkeiten zur </a:t>
            </a:r>
            <a:r>
              <a:rPr lang="de-DE" sz="1800" dirty="0">
                <a:sym typeface="Wingdings" panose="05000000000000000000" pitchFamily="2" charset="2"/>
              </a:rPr>
              <a:t>sozialen Interaktion</a:t>
            </a:r>
          </a:p>
          <a:p>
            <a:pPr>
              <a:lnSpc>
                <a:spcPct val="100000"/>
              </a:lnSpc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Trotz Zeitgewinn </a:t>
            </a:r>
            <a:r>
              <a:rPr lang="de-DE" sz="1800" dirty="0"/>
              <a:t>dennoch Zeitverlust -warum???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„Immer mehr Zeit – durch technische Hilfsapparate – gewinnen und trotzdem (oder gerade deshalb?) immer weniger Zeit besitzen </a:t>
            </a:r>
          </a:p>
          <a:p>
            <a:pPr marL="753750" lvl="3" indent="-28575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800" b="0" dirty="0">
                <a:sym typeface="Wingdings" panose="05000000000000000000" pitchFamily="2" charset="2"/>
              </a:rPr>
              <a:t>Z.B. Abrufmöglichkeiten von E-Mails per Handys während Zugfahr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eschleunigungen produzieren Entschleunigung</a:t>
            </a:r>
          </a:p>
          <a:p>
            <a:pPr marL="753750" lvl="3" indent="-28575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800" b="0" dirty="0"/>
              <a:t>Überlastung des Autobahnnetzes </a:t>
            </a:r>
            <a:r>
              <a:rPr lang="de-DE" sz="1800" b="0" dirty="0">
                <a:sym typeface="Wingdings" panose="05000000000000000000" pitchFamily="2" charset="2"/>
              </a:rPr>
              <a:t> Stau</a:t>
            </a: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400" y="2271999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7048" y="932281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90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br>
              <a:rPr lang="de-DE" b="1" dirty="0"/>
            </a:br>
            <a:r>
              <a:rPr lang="de-DE" dirty="0"/>
              <a:t>I: Differenzierung</a:t>
            </a:r>
            <a:br>
              <a:rPr lang="de-DE" dirty="0"/>
            </a:br>
            <a:r>
              <a:rPr lang="de-DE" dirty="0"/>
              <a:t>II: Individualisierung</a:t>
            </a:r>
            <a:br>
              <a:rPr lang="de-DE" dirty="0"/>
            </a:br>
            <a:r>
              <a:rPr lang="de-DE" b="1" dirty="0"/>
              <a:t>III: </a:t>
            </a:r>
            <a:r>
              <a:rPr lang="de-DE" b="1" dirty="0">
                <a:solidFill>
                  <a:schemeClr val="accent2"/>
                </a:solidFill>
              </a:rPr>
              <a:t>Rationalisierung</a:t>
            </a:r>
            <a:br>
              <a:rPr lang="de-DE" dirty="0"/>
            </a:br>
            <a:r>
              <a:rPr lang="de-DE" b="1" dirty="0"/>
              <a:t>IIII: Domestizierung</a:t>
            </a:r>
            <a:br>
              <a:rPr lang="de-DE" b="1" dirty="0"/>
            </a:br>
            <a:r>
              <a:rPr lang="de-DE" b="1" dirty="0"/>
              <a:t>                                          </a:t>
            </a:r>
            <a:r>
              <a:rPr lang="de-DE" altLang="de-DE" sz="1400" b="0" dirty="0">
                <a:cs typeface="Arial" panose="020B0604020202020204" pitchFamily="34" charset="0"/>
              </a:rPr>
              <a:t>van der Loo &amp; van </a:t>
            </a:r>
            <a:r>
              <a:rPr lang="de-DE" altLang="de-DE" sz="1400" b="0" dirty="0" err="1">
                <a:cs typeface="Arial" panose="020B0604020202020204" pitchFamily="34" charset="0"/>
              </a:rPr>
              <a:t>Reijen</a:t>
            </a:r>
            <a:r>
              <a:rPr lang="de-DE" altLang="de-DE" sz="1400" b="0" dirty="0">
                <a:cs typeface="Arial" panose="020B0604020202020204" pitchFamily="34" charset="0"/>
              </a:rPr>
              <a:t> (1997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183CBE6-CEFA-A259-F9EE-02998AE2B1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5655" y="1351171"/>
            <a:ext cx="3568345" cy="217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152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r>
              <a:rPr lang="de-DE" dirty="0"/>
              <a:t>(Erweiterung)</a:t>
            </a:r>
            <a:br>
              <a:rPr lang="de-DE" dirty="0"/>
            </a:br>
            <a:br>
              <a:rPr lang="de-DE" b="1" dirty="0"/>
            </a:br>
            <a:r>
              <a:rPr lang="de-DE" b="1" dirty="0"/>
              <a:t>I: Beschleunigung</a:t>
            </a:r>
            <a:br>
              <a:rPr lang="de-DE" b="1" dirty="0"/>
            </a:br>
            <a:r>
              <a:rPr lang="de-DE" b="1" dirty="0">
                <a:solidFill>
                  <a:schemeClr val="accent2"/>
                </a:solidFill>
              </a:rPr>
              <a:t>II: Globalisierung</a:t>
            </a:r>
            <a:br>
              <a:rPr lang="de-DE" b="1" dirty="0"/>
            </a:br>
            <a:r>
              <a:rPr lang="de-DE" dirty="0"/>
              <a:t>III: Integration</a:t>
            </a:r>
            <a:br>
              <a:rPr lang="de-DE" dirty="0"/>
            </a:br>
            <a:r>
              <a:rPr lang="de-DE" dirty="0"/>
              <a:t>IIII: </a:t>
            </a:r>
            <a:r>
              <a:rPr lang="de-DE" dirty="0" err="1"/>
              <a:t>Vergeschlechtlichung</a:t>
            </a: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0</a:t>
            </a:fld>
            <a:r>
              <a:rPr lang="de-DE"/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41C8BD3-2FC8-881A-388E-B58A609FD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4178" y="793483"/>
            <a:ext cx="2783963" cy="2735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7499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: 2) Glob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76492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/>
              <a:t>Globalisierung = Veränderungen von Raum und Zei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Welt rückt näher zusammen (Vermischung von Kulturen, Identitäten, Ökonomien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Verflechtungen &amp; Abhängigkeiten </a:t>
            </a:r>
            <a:r>
              <a:rPr lang="de-DE" sz="1800" b="0" dirty="0"/>
              <a:t>von Staaten und Individuen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Dimensionen der Globalisierung 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de-DE" altLang="de-DE" sz="1800" dirty="0">
                <a:latin typeface="Arial" panose="020B0604020202020204" pitchFamily="34" charset="0"/>
              </a:rPr>
              <a:t>Ökonomisch </a:t>
            </a:r>
            <a:r>
              <a:rPr lang="de-DE" altLang="de-DE" sz="1800" dirty="0">
                <a:latin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de-DE" sz="1800" b="0" i="1" dirty="0"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de-DE" altLang="de-DE" sz="1800" dirty="0">
                <a:latin typeface="Arial" panose="020B0604020202020204" pitchFamily="34" charset="0"/>
              </a:rPr>
              <a:t>Politisch </a:t>
            </a:r>
            <a:r>
              <a:rPr lang="de-DE" altLang="de-DE" sz="1800" dirty="0">
                <a:latin typeface="Arial" panose="020B0604020202020204" pitchFamily="34" charset="0"/>
                <a:sym typeface="Wingdings" panose="05000000000000000000" pitchFamily="2" charset="2"/>
              </a:rPr>
              <a:t> </a:t>
            </a: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de-DE" altLang="de-DE" sz="1800" dirty="0">
                <a:latin typeface="Arial" panose="020B0604020202020204" pitchFamily="34" charset="0"/>
              </a:rPr>
              <a:t>Kulturell </a:t>
            </a:r>
            <a:r>
              <a:rPr lang="de-DE" altLang="de-DE" sz="1800" dirty="0">
                <a:latin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de-DE" altLang="de-DE" sz="1800" dirty="0">
              <a:latin typeface="Arial" panose="020B0604020202020204" pitchFamily="34" charset="0"/>
            </a:endParaRP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de-DE" altLang="de-DE" sz="1800" dirty="0">
                <a:latin typeface="Arial" panose="020B0604020202020204" pitchFamily="34" charset="0"/>
              </a:rPr>
              <a:t>Kommunikationstechnologisch </a:t>
            </a:r>
            <a:r>
              <a:rPr lang="de-DE" altLang="de-DE" sz="1800" dirty="0">
                <a:latin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de-DE" altLang="de-DE" sz="1800" dirty="0">
              <a:latin typeface="Arial" panose="020B0604020202020204" pitchFamily="34" charset="0"/>
            </a:endParaRP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de-DE" altLang="de-DE" sz="1800" dirty="0">
                <a:latin typeface="Arial" panose="020B0604020202020204" pitchFamily="34" charset="0"/>
              </a:rPr>
              <a:t>Ökologisch </a:t>
            </a:r>
            <a:r>
              <a:rPr lang="de-DE" altLang="de-DE" sz="1800" dirty="0">
                <a:latin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de-DE" altLang="de-DE" sz="1800" dirty="0">
              <a:latin typeface="Arial" panose="020B0604020202020204" pitchFamily="34" charset="0"/>
            </a:endParaRPr>
          </a:p>
          <a:p>
            <a:pPr marL="342900" lvl="2" indent="-342900">
              <a:lnSpc>
                <a:spcPct val="100000"/>
              </a:lnSpc>
              <a:buFont typeface="+mj-lt"/>
              <a:buAutoNum type="arabicPeriod"/>
            </a:pPr>
            <a:r>
              <a:rPr lang="de-DE" altLang="de-DE" sz="1800" dirty="0">
                <a:latin typeface="Arial" panose="020B0604020202020204" pitchFamily="34" charset="0"/>
              </a:rPr>
              <a:t>Alltäglich </a:t>
            </a:r>
            <a:r>
              <a:rPr lang="de-DE" altLang="de-DE" sz="1800" dirty="0">
                <a:latin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22313D0D-C144-4053-F775-4F438FA7999C}"/>
              </a:ext>
            </a:extLst>
          </p:cNvPr>
          <p:cNvSpPr/>
          <p:nvPr/>
        </p:nvSpPr>
        <p:spPr>
          <a:xfrm>
            <a:off x="2535847" y="2422256"/>
            <a:ext cx="3322028" cy="368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Weltweite Produktion &amp; Warenflüsse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304631F2-B9F4-9A40-D77E-9B3B9A63A3DD}"/>
              </a:ext>
            </a:extLst>
          </p:cNvPr>
          <p:cNvSpPr/>
          <p:nvPr/>
        </p:nvSpPr>
        <p:spPr>
          <a:xfrm>
            <a:off x="2535847" y="2770777"/>
            <a:ext cx="4847127" cy="354458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Entscheidungen über Nationalstaatlichkeit hinaus </a:t>
            </a:r>
          </a:p>
          <a:p>
            <a:pPr algn="ctr"/>
            <a:r>
              <a:rPr lang="de-DE" dirty="0"/>
              <a:t>z.B. </a:t>
            </a:r>
            <a:r>
              <a:rPr lang="de-DE" dirty="0" err="1"/>
              <a:t>Verteidungsbündnisse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32B4BF46-03CF-C33C-CE33-B9AD06C58038}"/>
              </a:ext>
            </a:extLst>
          </p:cNvPr>
          <p:cNvSpPr/>
          <p:nvPr/>
        </p:nvSpPr>
        <p:spPr>
          <a:xfrm>
            <a:off x="2535847" y="3125235"/>
            <a:ext cx="3322028" cy="368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Interkulturelle Einflüsse (z.B. Popkultur)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07B9682D-39EC-F70B-B87C-F9BCB6779319}"/>
              </a:ext>
            </a:extLst>
          </p:cNvPr>
          <p:cNvSpPr/>
          <p:nvPr/>
        </p:nvSpPr>
        <p:spPr>
          <a:xfrm>
            <a:off x="4196861" y="3507236"/>
            <a:ext cx="4174972" cy="368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Weite &amp; Echtzeit Kommunikation (z.B. Zoom)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6F8E10D-4CA1-0ABD-FE08-DB80F8FC48EF}"/>
              </a:ext>
            </a:extLst>
          </p:cNvPr>
          <p:cNvSpPr/>
          <p:nvPr/>
        </p:nvSpPr>
        <p:spPr>
          <a:xfrm>
            <a:off x="2535847" y="3861694"/>
            <a:ext cx="4174972" cy="368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Klimatische Entwicklungen (z.B. Erderwärmung)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D6CB040-1170-D4FF-FFAD-93DE2B2E161F}"/>
              </a:ext>
            </a:extLst>
          </p:cNvPr>
          <p:cNvSpPr/>
          <p:nvPr/>
        </p:nvSpPr>
        <p:spPr>
          <a:xfrm>
            <a:off x="2525497" y="4245216"/>
            <a:ext cx="4174972" cy="368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Auswirkungen Globalisierung auf den Alltag</a:t>
            </a:r>
          </a:p>
        </p:txBody>
      </p:sp>
    </p:spTree>
    <p:extLst>
      <p:ext uri="{BB962C8B-B14F-4D97-AF65-F5344CB8AC3E}">
        <p14:creationId xmlns:p14="http://schemas.microsoft.com/office/powerpoint/2010/main" val="3272961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animBg="1"/>
      <p:bldP spid="7" grpId="0" animBg="1"/>
      <p:bldP spid="8" grpId="0" animBg="1"/>
      <p:bldP spid="9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645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Kernprobleme der Globalisierungsdebatte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22492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1) </a:t>
            </a:r>
            <a:r>
              <a:rPr lang="de-DE" sz="1800" dirty="0"/>
              <a:t>Uneindeutige Periodisieru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Globalisierung gilt als neues Phänomen, wird jedoch schon seit 1750 als solches betrachtet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2) </a:t>
            </a:r>
            <a:r>
              <a:rPr lang="de-DE" sz="1800" dirty="0"/>
              <a:t>Unklare Entwicklungslini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Unklare Machtverteilungen (Einfluss von wirtsch. Eliten, Konzernen, Nationalstaaten, Transnationale Organisationen, wie UN, Wissenschaft, Kritiker)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 </a:t>
            </a:r>
            <a:r>
              <a:rPr lang="de-DE" sz="1800" b="0" dirty="0">
                <a:sym typeface="Wingdings" panose="05000000000000000000" pitchFamily="2" charset="2"/>
              </a:rPr>
              <a:t> unklare Voraussagungen wo es hin geht (offenes Ende)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3) </a:t>
            </a:r>
            <a:r>
              <a:rPr lang="de-DE" sz="1800" dirty="0"/>
              <a:t>Henne- Ei- Problem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Welcher Wechselwirkung zwischen Modernisierung und Globalisieru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Globalisierung eher Voraussetzung oder Teilprozess ? -was war zuerst da?</a:t>
            </a:r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200564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Tendenzen der Glob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22492"/>
            <a:ext cx="8794800" cy="4029508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endParaRPr lang="de-DE" sz="1800" b="0" dirty="0"/>
          </a:p>
          <a:p>
            <a:pPr algn="ctr">
              <a:lnSpc>
                <a:spcPct val="100000"/>
              </a:lnSpc>
            </a:pPr>
            <a:endParaRPr lang="de-DE" sz="1800" b="0" dirty="0"/>
          </a:p>
          <a:p>
            <a:pPr algn="ctr">
              <a:lnSpc>
                <a:spcPct val="100000"/>
              </a:lnSpc>
            </a:pPr>
            <a:endParaRPr lang="de-DE" sz="1800" b="0" dirty="0"/>
          </a:p>
          <a:p>
            <a:pPr algn="ctr">
              <a:lnSpc>
                <a:spcPct val="100000"/>
              </a:lnSpc>
            </a:pPr>
            <a:r>
              <a:rPr lang="de-DE" sz="1800" b="0" dirty="0"/>
              <a:t>1) McDonaldisierung</a:t>
            </a:r>
          </a:p>
          <a:p>
            <a:pPr algn="ctr">
              <a:lnSpc>
                <a:spcPct val="100000"/>
              </a:lnSpc>
            </a:pPr>
            <a:endParaRPr lang="de-DE" sz="1800" b="0" dirty="0"/>
          </a:p>
          <a:p>
            <a:pPr algn="ctr">
              <a:lnSpc>
                <a:spcPct val="100000"/>
              </a:lnSpc>
            </a:pPr>
            <a:r>
              <a:rPr lang="de-DE" sz="1800" b="0" dirty="0"/>
              <a:t>2) Kampf der Kulturen</a:t>
            </a:r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BD4D3CBD-BFF4-88D3-C6EA-225461B99B03}"/>
              </a:ext>
            </a:extLst>
          </p:cNvPr>
          <p:cNvCxnSpPr>
            <a:cxnSpLocks/>
          </p:cNvCxnSpPr>
          <p:nvPr/>
        </p:nvCxnSpPr>
        <p:spPr>
          <a:xfrm>
            <a:off x="5820638" y="2188414"/>
            <a:ext cx="406529" cy="27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57D19304-B3D2-6CE1-C2BF-DE4AEEEA56E0}"/>
              </a:ext>
            </a:extLst>
          </p:cNvPr>
          <p:cNvCxnSpPr>
            <a:cxnSpLocks/>
          </p:cNvCxnSpPr>
          <p:nvPr/>
        </p:nvCxnSpPr>
        <p:spPr>
          <a:xfrm>
            <a:off x="5820638" y="3083764"/>
            <a:ext cx="406529" cy="27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D43DD140-76A5-BE63-BBCC-E3CDC2CDD837}"/>
              </a:ext>
            </a:extLst>
          </p:cNvPr>
          <p:cNvSpPr/>
          <p:nvPr/>
        </p:nvSpPr>
        <p:spPr>
          <a:xfrm>
            <a:off x="6359299" y="2325584"/>
            <a:ext cx="2303369" cy="422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Türseite</a:t>
            </a:r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049A214-EFE0-17D4-6B19-A12B8A696A34}"/>
              </a:ext>
            </a:extLst>
          </p:cNvPr>
          <p:cNvSpPr/>
          <p:nvPr/>
        </p:nvSpPr>
        <p:spPr>
          <a:xfrm>
            <a:off x="6359298" y="3184387"/>
            <a:ext cx="2303369" cy="422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Tafelseite</a:t>
            </a:r>
          </a:p>
        </p:txBody>
      </p:sp>
    </p:spTree>
    <p:extLst>
      <p:ext uri="{BB962C8B-B14F-4D97-AF65-F5344CB8AC3E}">
        <p14:creationId xmlns:p14="http://schemas.microsoft.com/office/powerpoint/2010/main" val="2611510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Zwei Tendenzen der Glob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687" y="830492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1) McDonaldisierung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= Globalisierung führt zu </a:t>
            </a:r>
            <a:r>
              <a:rPr lang="de-DE" sz="1800" dirty="0"/>
              <a:t>Homogen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Bedrohung</a:t>
            </a:r>
            <a:r>
              <a:rPr lang="de-DE" sz="1800" b="0" dirty="0"/>
              <a:t> von individuellen, </a:t>
            </a:r>
            <a:r>
              <a:rPr lang="de-DE" sz="1800" dirty="0"/>
              <a:t>regionalen</a:t>
            </a:r>
            <a:r>
              <a:rPr lang="de-DE" sz="1800" b="0" dirty="0"/>
              <a:t> </a:t>
            </a:r>
            <a:r>
              <a:rPr lang="de-DE" sz="1800" dirty="0"/>
              <a:t>Besonderheit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Findet an allen Orten (fast) gleich stat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 err="1"/>
              <a:t>MC‘s</a:t>
            </a:r>
            <a:r>
              <a:rPr lang="de-DE" sz="1800" b="0" dirty="0"/>
              <a:t> = internationaler Konzern mit weltweit ähnlichen Filialen (ähnliche Konzepte, Ausstattung und Produktangebote) </a:t>
            </a:r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BD4D3CBD-BFF4-88D3-C6EA-225461B99B03}"/>
              </a:ext>
            </a:extLst>
          </p:cNvPr>
          <p:cNvCxnSpPr>
            <a:cxnSpLocks/>
          </p:cNvCxnSpPr>
          <p:nvPr/>
        </p:nvCxnSpPr>
        <p:spPr>
          <a:xfrm>
            <a:off x="2776275" y="875366"/>
            <a:ext cx="406529" cy="27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2368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Zwei Tendenzen der Glob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687" y="830492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2) Kampf der Kulturen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= </a:t>
            </a:r>
            <a:r>
              <a:rPr lang="de-DE" sz="1800" dirty="0"/>
              <a:t>Konflikte</a:t>
            </a:r>
            <a:r>
              <a:rPr lang="de-DE" sz="1800" b="0" dirty="0"/>
              <a:t> der Zukunft durch </a:t>
            </a:r>
            <a:r>
              <a:rPr lang="de-DE" sz="1800" dirty="0"/>
              <a:t>verschiedene Kulturen </a:t>
            </a:r>
            <a:r>
              <a:rPr lang="de-DE" sz="1800" b="0" dirty="0">
                <a:sym typeface="Wingdings" panose="05000000000000000000" pitchFamily="2" charset="2"/>
              </a:rPr>
              <a:t></a:t>
            </a:r>
            <a:r>
              <a:rPr lang="de-DE" sz="1800" dirty="0">
                <a:sym typeface="Wingdings" panose="05000000000000000000" pitchFamily="2" charset="2"/>
              </a:rPr>
              <a:t> </a:t>
            </a:r>
            <a:r>
              <a:rPr lang="de-DE" sz="1800" b="0" dirty="0"/>
              <a:t>„Clash </a:t>
            </a:r>
            <a:r>
              <a:rPr lang="de-DE" sz="1800" b="0" dirty="0" err="1"/>
              <a:t>of</a:t>
            </a:r>
            <a:r>
              <a:rPr lang="de-DE" sz="1800" b="0" dirty="0"/>
              <a:t> Cultures“ 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 err="1"/>
              <a:t>Mikrobene</a:t>
            </a:r>
            <a:r>
              <a:rPr lang="de-DE" sz="1800" b="0" dirty="0"/>
              <a:t>: benachbarte Völk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Makroebene: zwischen Staaten 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Z.B. Christentum vs. Islam oder „westliche Kultur gegen </a:t>
            </a:r>
            <a:r>
              <a:rPr lang="de-DE" sz="1800" b="0" dirty="0" err="1"/>
              <a:t>un</a:t>
            </a:r>
            <a:r>
              <a:rPr lang="de-DE" sz="1800" b="0" dirty="0"/>
              <a:t>-westliche Kulturen“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orsichtig: sehr vereinfachtes Freund- und Feind Schema</a:t>
            </a:r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BD4D3CBD-BFF4-88D3-C6EA-225461B99B03}"/>
              </a:ext>
            </a:extLst>
          </p:cNvPr>
          <p:cNvCxnSpPr>
            <a:cxnSpLocks/>
          </p:cNvCxnSpPr>
          <p:nvPr/>
        </p:nvCxnSpPr>
        <p:spPr>
          <a:xfrm>
            <a:off x="2833425" y="908635"/>
            <a:ext cx="406529" cy="274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125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177039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bivalox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der Glob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6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283" y="830492"/>
            <a:ext cx="8494104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Zunehmende Verdichtung, globale Interdependenz &amp; Annäherung </a:t>
            </a:r>
          </a:p>
          <a:p>
            <a:pPr>
              <a:lnSpc>
                <a:spcPct val="1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ber auch gegenläufige Tendenzen, wie De-global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eispiel: „Glokalisierung“ (aktuelle </a:t>
            </a:r>
            <a:r>
              <a:rPr lang="de-DE" sz="1800" b="0" dirty="0" err="1">
                <a:sym typeface="Wingdings" panose="05000000000000000000" pitchFamily="2" charset="2"/>
              </a:rPr>
              <a:t>Regionalisierungstendenzen</a:t>
            </a:r>
            <a:r>
              <a:rPr lang="de-DE" sz="1800" b="0" dirty="0">
                <a:sym typeface="Wingdings" panose="05000000000000000000" pitchFamily="2" charset="2"/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Fazit: Gegenläufige Trends: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a) Gemüse aus aller Welt  Verflechtung  b) Fokus auf regionale Produkte  Lokalisierung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42" y="2504847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3442" y="714894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37097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7543"/>
            <a:ext cx="7560000" cy="468000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Lernziele</a:t>
            </a:r>
            <a:r>
              <a:rPr lang="de-DE" dirty="0"/>
              <a:t>: sechste Sitzung I VL. (10) und (11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7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450000" y="735543"/>
            <a:ext cx="8873410" cy="3365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wurde heute erarbeitet…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Die </a:t>
            </a:r>
            <a:r>
              <a:rPr lang="de-DE" sz="1800" b="1" dirty="0">
                <a:solidFill>
                  <a:schemeClr val="tx2"/>
                </a:solidFill>
              </a:rPr>
              <a:t>vier Perspektive </a:t>
            </a:r>
            <a:r>
              <a:rPr lang="de-DE" sz="1800" dirty="0">
                <a:solidFill>
                  <a:schemeClr val="tx2"/>
                </a:solidFill>
              </a:rPr>
              <a:t>und ihre </a:t>
            </a:r>
            <a:r>
              <a:rPr lang="de-DE" sz="1800" dirty="0" err="1">
                <a:solidFill>
                  <a:schemeClr val="tx2"/>
                </a:solidFill>
              </a:rPr>
              <a:t>Ambivaloxe</a:t>
            </a:r>
            <a:r>
              <a:rPr lang="de-DE" sz="1800" dirty="0">
                <a:solidFill>
                  <a:schemeClr val="tx2"/>
                </a:solidFill>
              </a:rPr>
              <a:t> von abgrenzen können</a:t>
            </a: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Hier noch: III Rationalisierung und IIII Domestizierung 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Das ergänzende Modell (Acht-Faktor- Modell) </a:t>
            </a:r>
            <a:r>
              <a:rPr lang="de-DE" sz="1800" dirty="0">
                <a:solidFill>
                  <a:schemeClr val="tx2"/>
                </a:solidFill>
              </a:rPr>
              <a:t>nach </a:t>
            </a:r>
            <a:r>
              <a:rPr lang="de-DE" sz="1800" dirty="0" err="1">
                <a:solidFill>
                  <a:schemeClr val="tx2"/>
                </a:solidFill>
              </a:rPr>
              <a:t>Degele</a:t>
            </a:r>
            <a:r>
              <a:rPr lang="de-DE" sz="1800" dirty="0">
                <a:solidFill>
                  <a:schemeClr val="tx2"/>
                </a:solidFill>
              </a:rPr>
              <a:t> und Dries </a:t>
            </a:r>
            <a:r>
              <a:rPr lang="de-DE" sz="1800" b="1" dirty="0">
                <a:solidFill>
                  <a:schemeClr val="tx2"/>
                </a:solidFill>
              </a:rPr>
              <a:t>beschreiben</a:t>
            </a:r>
            <a:r>
              <a:rPr lang="de-DE" sz="1800" dirty="0">
                <a:solidFill>
                  <a:schemeClr val="tx2"/>
                </a:solidFill>
              </a:rPr>
              <a:t> und die </a:t>
            </a:r>
            <a:r>
              <a:rPr lang="de-DE" sz="1800" b="1" dirty="0">
                <a:solidFill>
                  <a:schemeClr val="tx2"/>
                </a:solidFill>
              </a:rPr>
              <a:t>vier Perspektiven voneinander </a:t>
            </a:r>
            <a:r>
              <a:rPr lang="de-DE" sz="1800" dirty="0">
                <a:solidFill>
                  <a:schemeClr val="tx2"/>
                </a:solidFill>
              </a:rPr>
              <a:t>unterscheide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Die </a:t>
            </a:r>
            <a:r>
              <a:rPr lang="de-DE" sz="1800" b="1" dirty="0" err="1">
                <a:solidFill>
                  <a:schemeClr val="tx2"/>
                </a:solidFill>
              </a:rPr>
              <a:t>Ambivaloxe</a:t>
            </a:r>
            <a:r>
              <a:rPr lang="de-DE" sz="1800" b="1" dirty="0">
                <a:solidFill>
                  <a:schemeClr val="tx2"/>
                </a:solidFill>
              </a:rPr>
              <a:t> der vier ergänzenden Perspektiven erklären</a:t>
            </a:r>
            <a:r>
              <a:rPr lang="de-DE" sz="1800" dirty="0">
                <a:solidFill>
                  <a:schemeClr val="tx2"/>
                </a:solidFill>
              </a:rPr>
              <a:t> können</a:t>
            </a: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Hier: I Beschleunigung und II Globalisierung</a:t>
            </a:r>
          </a:p>
        </p:txBody>
      </p:sp>
    </p:spTree>
    <p:extLst>
      <p:ext uri="{BB962C8B-B14F-4D97-AF65-F5344CB8AC3E}">
        <p14:creationId xmlns:p14="http://schemas.microsoft.com/office/powerpoint/2010/main" val="22308972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8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995250" cy="2534027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Fortsetzung Perspektiven der </a:t>
            </a:r>
            <a:r>
              <a:rPr lang="de-DE" sz="1800" b="1" dirty="0">
                <a:solidFill>
                  <a:schemeClr val="tx2"/>
                </a:solidFill>
              </a:rPr>
              <a:t>Modernisierung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                                                          (III: Integration)</a:t>
            </a:r>
            <a:br>
              <a:rPr lang="de-DE" sz="1800" dirty="0">
                <a:solidFill>
                  <a:schemeClr val="tx2"/>
                </a:solidFill>
              </a:rPr>
            </a:br>
            <a:r>
              <a:rPr lang="de-DE" sz="1800" dirty="0">
                <a:solidFill>
                  <a:schemeClr val="tx2"/>
                </a:solidFill>
              </a:rPr>
              <a:t>                                                          (IIII: </a:t>
            </a:r>
            <a:r>
              <a:rPr lang="de-DE" sz="1800" dirty="0" err="1">
                <a:solidFill>
                  <a:schemeClr val="tx2"/>
                </a:solidFill>
              </a:rPr>
              <a:t>Vergeschlechtlichung</a:t>
            </a:r>
            <a:r>
              <a:rPr lang="de-DE" sz="1800" dirty="0">
                <a:solidFill>
                  <a:schemeClr val="tx2"/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6903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54900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1) Beschleunigung: neuere Theorie: Hartmut Rosa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9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519223"/>
            <a:ext cx="8794800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/>
              <a:t>= Beschleunigung durch drei Motoren </a:t>
            </a:r>
          </a:p>
          <a:p>
            <a:pPr>
              <a:lnSpc>
                <a:spcPct val="100000"/>
              </a:lnSpc>
            </a:pP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graphicFrame>
        <p:nvGraphicFramePr>
          <p:cNvPr id="3" name="Tabelle 4">
            <a:extLst>
              <a:ext uri="{FF2B5EF4-FFF2-40B4-BE49-F238E27FC236}">
                <a16:creationId xmlns:a16="http://schemas.microsoft.com/office/drawing/2014/main" id="{53A0682D-8568-1DF6-8B3B-3DD040A3D3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11865"/>
              </p:ext>
            </p:extLst>
          </p:nvPr>
        </p:nvGraphicFramePr>
        <p:xfrm>
          <a:off x="105510" y="771525"/>
          <a:ext cx="9139290" cy="44805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67874">
                  <a:extLst>
                    <a:ext uri="{9D8B030D-6E8A-4147-A177-3AD203B41FA5}">
                      <a16:colId xmlns:a16="http://schemas.microsoft.com/office/drawing/2014/main" val="3265627214"/>
                    </a:ext>
                  </a:extLst>
                </a:gridCol>
                <a:gridCol w="7771416">
                  <a:extLst>
                    <a:ext uri="{9D8B030D-6E8A-4147-A177-3AD203B41FA5}">
                      <a16:colId xmlns:a16="http://schemas.microsoft.com/office/drawing/2014/main" val="3381438813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r>
                        <a:rPr lang="de-DE" dirty="0"/>
                        <a:t>Moto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Kennzeiche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51309"/>
                  </a:ext>
                </a:extLst>
              </a:tr>
              <a:tr h="54959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dirty="0"/>
                        <a:t>1) Ökonom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Zeitgewinne</a:t>
                      </a:r>
                      <a:r>
                        <a:rPr lang="de-DE" dirty="0"/>
                        <a:t> und Arbeitseinsparung durch Technik und Maschinen</a:t>
                      </a:r>
                    </a:p>
                    <a:p>
                      <a:r>
                        <a:rPr lang="de-DE" dirty="0"/>
                        <a:t>Dadurch Prinzip der </a:t>
                      </a:r>
                      <a:r>
                        <a:rPr lang="de-DE" b="1" dirty="0"/>
                        <a:t>Steigerung</a:t>
                      </a:r>
                      <a:r>
                        <a:rPr lang="de-DE" dirty="0"/>
                        <a:t>  </a:t>
                      </a:r>
                    </a:p>
                    <a:p>
                      <a:r>
                        <a:rPr lang="de-DE" i="1" dirty="0"/>
                        <a:t>Einsparung vs. Steiger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395473"/>
                  </a:ext>
                </a:extLst>
              </a:tr>
              <a:tr h="405527">
                <a:tc>
                  <a:txBody>
                    <a:bodyPr/>
                    <a:lstStyle/>
                    <a:p>
                      <a:r>
                        <a:rPr lang="de-DE" dirty="0"/>
                        <a:t>2) Kul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Phänomen </a:t>
                      </a:r>
                      <a:r>
                        <a:rPr lang="de-DE" b="0" dirty="0"/>
                        <a:t>des</a:t>
                      </a:r>
                      <a:r>
                        <a:rPr lang="de-DE" b="1" dirty="0"/>
                        <a:t> „Tempo-Virus</a:t>
                      </a:r>
                      <a:r>
                        <a:rPr lang="de-DE" dirty="0"/>
                        <a:t>“</a:t>
                      </a:r>
                    </a:p>
                    <a:p>
                      <a:r>
                        <a:rPr lang="de-DE" dirty="0"/>
                        <a:t>Startphase (1450-1800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b="1" dirty="0"/>
                        <a:t>Wirtschaftssystem</a:t>
                      </a:r>
                      <a:r>
                        <a:rPr lang="de-DE" dirty="0"/>
                        <a:t> beginnt sozialen </a:t>
                      </a:r>
                      <a:r>
                        <a:rPr lang="de-DE" b="1" dirty="0"/>
                        <a:t>Takt</a:t>
                      </a:r>
                      <a:r>
                        <a:rPr lang="de-DE" dirty="0"/>
                        <a:t> anzugeben (Urbanisierung, Bevölkerungswachstum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Die Uhr als Zeitvorgabe</a:t>
                      </a:r>
                    </a:p>
                    <a:p>
                      <a:r>
                        <a:rPr lang="de-DE" dirty="0"/>
                        <a:t>Beschleunigungsphase (1800-1950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b="1" dirty="0"/>
                        <a:t>Optimierungsprozesse</a:t>
                      </a:r>
                      <a:r>
                        <a:rPr lang="de-DE" dirty="0"/>
                        <a:t> von Arbeit und Arbeitszeit (</a:t>
                      </a:r>
                      <a:r>
                        <a:rPr lang="de-DE" dirty="0" err="1"/>
                        <a:t>Tylorismus</a:t>
                      </a:r>
                      <a:r>
                        <a:rPr lang="de-DE" dirty="0"/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Zeitökonomische Optimierung und </a:t>
                      </a:r>
                      <a:r>
                        <a:rPr lang="de-DE" b="1" dirty="0"/>
                        <a:t>Effizienzsteiger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„Tempo-Ideologie“ (optimierte Zeitnutzung)</a:t>
                      </a:r>
                    </a:p>
                    <a:p>
                      <a:r>
                        <a:rPr lang="de-DE" dirty="0"/>
                        <a:t>Tempophase (seit 1950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Endgültige </a:t>
                      </a:r>
                      <a:r>
                        <a:rPr lang="de-DE" b="1" dirty="0"/>
                        <a:t>Durchdringung aller Lebensbereiche </a:t>
                      </a:r>
                      <a:r>
                        <a:rPr lang="de-DE" dirty="0"/>
                        <a:t>des Tempos (schnelles </a:t>
                      </a:r>
                      <a:r>
                        <a:rPr lang="de-DE" b="1" dirty="0"/>
                        <a:t>Lebenstempo</a:t>
                      </a:r>
                      <a:r>
                        <a:rPr lang="de-DE" dirty="0"/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Starker Arbeitsethos („keine Zeit zu haben schafft Ansehen“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Rastlosigkeit und lebenslanges Lernen (Ziel: Selbstoptimieru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285730"/>
                  </a:ext>
                </a:extLst>
              </a:tr>
              <a:tr h="405527">
                <a:tc>
                  <a:txBody>
                    <a:bodyPr/>
                    <a:lstStyle/>
                    <a:p>
                      <a:r>
                        <a:rPr lang="de-DE" dirty="0"/>
                        <a:t>3) Differenzi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Differenzierung kann </a:t>
                      </a:r>
                      <a:r>
                        <a:rPr lang="de-DE" b="1" dirty="0"/>
                        <a:t>Kraft und Ressourcen spar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z.B. Lockerungen von Tempobeschränkungen (Vereinheitlichungen von z.B. Währungen, Zeit)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dirty="0"/>
                        <a:t>oder Befreiung von Handelsbarrieren (z.B. Zölle oder Maut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/>
                        <a:t>Spannung zwischen Lebenschancen und Lebensrisi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3676252"/>
                  </a:ext>
                </a:extLst>
              </a:tr>
            </a:tbl>
          </a:graphicData>
        </a:graphic>
      </p:graphicFrame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FF0BDDCD-7552-9E8F-BE53-AA542489AB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8293" y="-35871"/>
            <a:ext cx="511947" cy="51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737614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erkmale Rationalisierung: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999" y="776492"/>
            <a:ext cx="8517795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Phänomen: </a:t>
            </a:r>
            <a:r>
              <a:rPr lang="de-DE" sz="1800" dirty="0">
                <a:sym typeface="Wingdings" panose="05000000000000000000" pitchFamily="2" charset="2"/>
              </a:rPr>
              <a:t>Entzauberung des Weltbildes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= Denken und Handeln unterliegt immer mehr </a:t>
            </a:r>
            <a:r>
              <a:rPr lang="de-DE" sz="1800" dirty="0">
                <a:sym typeface="Wingdings" panose="05000000000000000000" pitchFamily="2" charset="2"/>
              </a:rPr>
              <a:t>Berechnungen, Begründbarkeiten und Beherrschung  </a:t>
            </a:r>
            <a:r>
              <a:rPr lang="de-DE" sz="1800" b="0" i="1" dirty="0">
                <a:sym typeface="Wingdings" panose="05000000000000000000" pitchFamily="2" charset="2"/>
              </a:rPr>
              <a:t>„Handeln muss berechenbar werden“</a:t>
            </a:r>
          </a:p>
          <a:p>
            <a:pPr>
              <a:lnSpc>
                <a:spcPct val="100000"/>
              </a:lnSpc>
            </a:pPr>
            <a:r>
              <a:rPr lang="de-DE" sz="1800" dirty="0"/>
              <a:t>1) Entmystifiz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bschied von Religion und Mythen</a:t>
            </a:r>
          </a:p>
          <a:p>
            <a:pPr>
              <a:lnSpc>
                <a:spcPct val="100000"/>
              </a:lnSpc>
            </a:pPr>
            <a:r>
              <a:rPr lang="de-DE" sz="1800" dirty="0"/>
              <a:t>2) Verwissenschaftlichung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Glauben an Vernunft &amp; Empirie </a:t>
            </a:r>
          </a:p>
          <a:p>
            <a:pPr>
              <a:lnSpc>
                <a:spcPct val="100000"/>
              </a:lnSpc>
            </a:pPr>
            <a:r>
              <a:rPr lang="de-DE" sz="1800" dirty="0"/>
              <a:t>3) Unterwerfung der Natur durch Fortschritte der Technik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Zunehmende Kontrol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334694287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83500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erkmale Rationalisierung: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830492"/>
            <a:ext cx="8978206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Phänomen: </a:t>
            </a:r>
            <a:r>
              <a:rPr lang="de-DE" sz="1800" dirty="0">
                <a:sym typeface="Wingdings" panose="05000000000000000000" pitchFamily="2" charset="2"/>
              </a:rPr>
              <a:t>Sozialstruktureller </a:t>
            </a:r>
            <a:r>
              <a:rPr lang="de-DE" sz="1800" b="0" dirty="0">
                <a:sym typeface="Wingdings" panose="05000000000000000000" pitchFamily="2" charset="2"/>
              </a:rPr>
              <a:t>Hintergrund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= </a:t>
            </a:r>
            <a:r>
              <a:rPr lang="de-DE" sz="1800" dirty="0"/>
              <a:t>Trennung</a:t>
            </a:r>
            <a:r>
              <a:rPr lang="de-DE" sz="1800" b="0" dirty="0"/>
              <a:t> von </a:t>
            </a:r>
            <a:r>
              <a:rPr lang="de-DE" sz="1800" dirty="0"/>
              <a:t>Betrieb &amp; Haushalt </a:t>
            </a:r>
            <a:r>
              <a:rPr lang="de-DE" sz="1800" b="0" dirty="0"/>
              <a:t>(Arbeitsteilung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Betrieb = Ort des </a:t>
            </a:r>
            <a:r>
              <a:rPr lang="de-DE" sz="1800" dirty="0"/>
              <a:t>wirtschaftlichen Handelns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Haushalt = Ort der </a:t>
            </a:r>
            <a:r>
              <a:rPr lang="de-DE" sz="1800" dirty="0"/>
              <a:t>Reproduktion</a:t>
            </a:r>
            <a:r>
              <a:rPr lang="de-DE" sz="1800" b="0" dirty="0"/>
              <a:t> der </a:t>
            </a:r>
            <a:r>
              <a:rPr lang="de-DE" sz="1800" dirty="0"/>
              <a:t>Arbeitskraft</a:t>
            </a:r>
            <a:r>
              <a:rPr lang="de-DE" sz="1800" b="0" dirty="0"/>
              <a:t> (untergeordnet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ktuelle Tendenz: Veränderungen der Trennung durch Konzepte wie ‚</a:t>
            </a:r>
            <a:r>
              <a:rPr lang="de-DE" sz="1800" b="0" i="1" dirty="0"/>
              <a:t>Homeoffice</a:t>
            </a:r>
            <a:r>
              <a:rPr lang="de-DE" sz="1800" b="0" dirty="0"/>
              <a:t>‘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r>
              <a:rPr lang="de-DE" sz="1800" b="0" dirty="0"/>
              <a:t>Phänomen: </a:t>
            </a:r>
            <a:r>
              <a:rPr lang="de-DE" sz="1800" dirty="0"/>
              <a:t>Kultureller </a:t>
            </a:r>
            <a:r>
              <a:rPr lang="de-DE" sz="1800" b="0" dirty="0"/>
              <a:t>Perspektive</a:t>
            </a:r>
            <a:r>
              <a:rPr lang="de-DE" sz="1800" dirty="0"/>
              <a:t> 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= Fortschreitender </a:t>
            </a:r>
            <a:r>
              <a:rPr lang="de-DE" sz="1800" dirty="0"/>
              <a:t>Beherrschungsprozes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1) Weltanschauung, 2) kollektives Handeln, 3) individuelles Handel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503688294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3) Ration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r>
              <a:rPr lang="de-DE" sz="700"/>
              <a:t> 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FD671D-34DF-3C72-BF32-992DFF0C5A4B}"/>
              </a:ext>
            </a:extLst>
          </p:cNvPr>
          <p:cNvSpPr txBox="1"/>
          <p:nvPr/>
        </p:nvSpPr>
        <p:spPr>
          <a:xfrm>
            <a:off x="708199" y="1246492"/>
            <a:ext cx="7727601" cy="923330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7CE7E086-3D50-6181-49A8-C8B56A5DCC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799550"/>
            <a:ext cx="8391794" cy="3727154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lltagssituation beinhaltet Rationalisierung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1) </a:t>
            </a:r>
            <a:r>
              <a:rPr lang="de-DE" sz="1800" dirty="0"/>
              <a:t>Zweck-Mittel-Rationalitä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mit minimalen Aufwand (=Kontrolle) den Zweck (=Tickets bezahlen) erreichen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2) </a:t>
            </a:r>
            <a:r>
              <a:rPr lang="de-DE" sz="1800" dirty="0"/>
              <a:t>Bürokratie</a:t>
            </a:r>
            <a:r>
              <a:rPr lang="de-DE" sz="1800" b="0" dirty="0"/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Kontrolle erfolgt nach geplantem und schriftlich fixiertem Vorgang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3) </a:t>
            </a:r>
            <a:r>
              <a:rPr lang="de-DE" sz="1800" dirty="0"/>
              <a:t>Austauschbarkei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kteure austauschbar, Schaffnerin nach sozialer Rolle (=Beruf) definiert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4) </a:t>
            </a:r>
            <a:r>
              <a:rPr lang="de-DE" sz="1800" dirty="0"/>
              <a:t>Erwartungssicherhei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Feste, reproduzierbare und bekannte Abläufe (mit Konsequenzen)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31BD3142-7370-CB95-30BD-8E361C1B982B}"/>
              </a:ext>
            </a:extLst>
          </p:cNvPr>
          <p:cNvSpPr/>
          <p:nvPr/>
        </p:nvSpPr>
        <p:spPr>
          <a:xfrm>
            <a:off x="3400715" y="233496"/>
            <a:ext cx="2207605" cy="511935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Beispiel: </a:t>
            </a:r>
          </a:p>
          <a:p>
            <a:pPr algn="ctr"/>
            <a:r>
              <a:rPr lang="de-DE" dirty="0"/>
              <a:t>Zugfahrt &amp; Ticketkontroll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2FDFABB-8CE8-F60D-0031-ABFB5BB4C7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5422" y="233496"/>
            <a:ext cx="1782578" cy="1167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382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bivalox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der Rational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830492"/>
            <a:ext cx="8494104" cy="40295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  </a:t>
            </a:r>
            <a:r>
              <a:rPr lang="de-DE" sz="1800" b="0" dirty="0">
                <a:sym typeface="Wingdings" panose="05000000000000000000" pitchFamily="2" charset="2"/>
              </a:rPr>
              <a:t>zwei gegenläufige Tendenzen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Zunehmende Beherrschung durch</a:t>
            </a:r>
            <a:r>
              <a:rPr lang="de-DE" sz="1800" dirty="0">
                <a:sym typeface="Wingdings" panose="05000000000000000000" pitchFamily="2" charset="2"/>
              </a:rPr>
              <a:t> Systematisierung und Ordn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eherrschung von 1) Weltanschauung, 2) Kollektivem Handeln, 3) Individuellem Handeln</a:t>
            </a: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Pluralisierung:</a:t>
            </a:r>
            <a:r>
              <a:rPr lang="de-DE" sz="1800" b="0" dirty="0">
                <a:sym typeface="Wingdings" panose="05000000000000000000" pitchFamily="2" charset="2"/>
              </a:rPr>
              <a:t> (freie Wahl der Lebensweise, </a:t>
            </a:r>
            <a:r>
              <a:rPr lang="de-DE" sz="1800" dirty="0"/>
              <a:t>Ausweitung</a:t>
            </a:r>
            <a:r>
              <a:rPr lang="de-DE" sz="1800" b="0" dirty="0"/>
              <a:t> von </a:t>
            </a:r>
            <a:r>
              <a:rPr lang="de-DE" sz="1800" dirty="0"/>
              <a:t>Entscheidungsmöglichkeiten</a:t>
            </a:r>
            <a:r>
              <a:rPr lang="de-DE" sz="1800" b="0" dirty="0"/>
              <a:t> </a:t>
            </a:r>
            <a:r>
              <a:rPr lang="de-DE" sz="1800" b="0" dirty="0">
                <a:sym typeface="Wingdings" panose="05000000000000000000" pitchFamily="2" charset="2"/>
              </a:rPr>
              <a:t> mehr Auswahl)</a:t>
            </a: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Generalisierung: verschwimmen</a:t>
            </a:r>
            <a:r>
              <a:rPr lang="de-DE" sz="1800" b="0" dirty="0"/>
              <a:t> </a:t>
            </a:r>
            <a:r>
              <a:rPr lang="de-DE" sz="1800" dirty="0"/>
              <a:t>Grenzen</a:t>
            </a:r>
            <a:r>
              <a:rPr lang="de-DE" sz="1800" b="0" dirty="0"/>
              <a:t>, Vermischung von eigentlich getrennte Systemen (z.B. Amerikanisierung in DE)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2696" y="2388047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2696" y="1173807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578356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br>
              <a:rPr lang="de-DE" b="1" dirty="0"/>
            </a:br>
            <a:r>
              <a:rPr lang="de-DE" dirty="0"/>
              <a:t>I: Differenzierung</a:t>
            </a:r>
            <a:br>
              <a:rPr lang="de-DE" dirty="0"/>
            </a:br>
            <a:r>
              <a:rPr lang="de-DE" dirty="0"/>
              <a:t>II: Individualisierung</a:t>
            </a:r>
            <a:br>
              <a:rPr lang="de-DE" dirty="0"/>
            </a:br>
            <a:r>
              <a:rPr lang="de-DE" b="1" dirty="0"/>
              <a:t>III: Rationalisierung</a:t>
            </a:r>
            <a:br>
              <a:rPr lang="de-DE" dirty="0"/>
            </a:br>
            <a:r>
              <a:rPr lang="de-DE" b="1" dirty="0"/>
              <a:t>IIII: </a:t>
            </a:r>
            <a:r>
              <a:rPr lang="de-DE" b="1" dirty="0">
                <a:solidFill>
                  <a:schemeClr val="accent2"/>
                </a:solidFill>
              </a:rPr>
              <a:t>Domestizierung</a:t>
            </a:r>
            <a:br>
              <a:rPr lang="de-DE" b="1" dirty="0"/>
            </a:br>
            <a:r>
              <a:rPr lang="de-DE" b="1" dirty="0"/>
              <a:t>                                          </a:t>
            </a:r>
            <a:r>
              <a:rPr lang="de-DE" altLang="de-DE" sz="1400" b="0" dirty="0">
                <a:cs typeface="Arial" panose="020B0604020202020204" pitchFamily="34" charset="0"/>
              </a:rPr>
              <a:t>van der Loo &amp; van </a:t>
            </a:r>
            <a:r>
              <a:rPr lang="de-DE" altLang="de-DE" sz="1400" b="0" dirty="0" err="1">
                <a:cs typeface="Arial" panose="020B0604020202020204" pitchFamily="34" charset="0"/>
              </a:rPr>
              <a:t>Reijen</a:t>
            </a:r>
            <a:r>
              <a:rPr lang="de-DE" altLang="de-DE" sz="1400" b="0" dirty="0">
                <a:cs typeface="Arial" panose="020B0604020202020204" pitchFamily="34" charset="0"/>
              </a:rPr>
              <a:t> (1997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183CBE6-CEFA-A259-F9EE-02998AE2B1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5655" y="1351171"/>
            <a:ext cx="3568345" cy="217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11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4) Domestiz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722491"/>
            <a:ext cx="8317899" cy="3738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Domestizierung </a:t>
            </a: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= </a:t>
            </a:r>
          </a:p>
          <a:p>
            <a:pPr algn="ctr">
              <a:lnSpc>
                <a:spcPct val="100000"/>
              </a:lnSpc>
            </a:pPr>
            <a:r>
              <a:rPr lang="de-DE" sz="1800" b="0" i="1" dirty="0"/>
              <a:t>„Beherrschung der Natur“</a:t>
            </a:r>
            <a:endParaRPr lang="de-DE" sz="1800" b="0" dirty="0"/>
          </a:p>
          <a:p>
            <a:pPr>
              <a:lnSpc>
                <a:spcPct val="100000"/>
              </a:lnSpc>
            </a:pPr>
            <a:r>
              <a:rPr lang="de-DE" sz="1800" b="0" dirty="0"/>
              <a:t>„</a:t>
            </a:r>
            <a:r>
              <a:rPr lang="de-DE" sz="1800" dirty="0"/>
              <a:t>Zähmung</a:t>
            </a:r>
            <a:r>
              <a:rPr lang="de-DE" sz="1800" b="0" dirty="0"/>
              <a:t> der </a:t>
            </a:r>
            <a:r>
              <a:rPr lang="de-DE" sz="1800" dirty="0"/>
              <a:t>natürlichen und biologischen Kräfte</a:t>
            </a:r>
            <a:r>
              <a:rPr lang="de-DE" sz="1800" b="0" dirty="0"/>
              <a:t>“, auch aber nicht notwendig, </a:t>
            </a:r>
            <a:r>
              <a:rPr lang="de-DE" sz="1800" dirty="0"/>
              <a:t>Optimierung</a:t>
            </a:r>
            <a:r>
              <a:rPr lang="de-DE" sz="1800" b="0" dirty="0"/>
              <a:t> natürlicher und </a:t>
            </a:r>
            <a:r>
              <a:rPr lang="de-DE" sz="1800" dirty="0"/>
              <a:t>körperlicher Möglichkeiten</a:t>
            </a:r>
            <a:r>
              <a:rPr lang="de-DE" sz="1800" b="0" dirty="0"/>
              <a:t>“</a:t>
            </a:r>
            <a:r>
              <a:rPr lang="nl-NL" sz="1200" b="0" dirty="0"/>
              <a:t>van der Loo &amp; van Reijen </a:t>
            </a:r>
            <a:r>
              <a:rPr lang="de-DE" sz="1200" b="0" dirty="0"/>
              <a:t>(1997)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Was umfasst überhaupt Natur? 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3094BE0-EF0F-81BD-993B-B8FF8CB444E4}"/>
              </a:ext>
            </a:extLst>
          </p:cNvPr>
          <p:cNvSpPr/>
          <p:nvPr/>
        </p:nvSpPr>
        <p:spPr>
          <a:xfrm>
            <a:off x="649896" y="2832842"/>
            <a:ext cx="2303369" cy="422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1) </a:t>
            </a:r>
            <a:r>
              <a:rPr lang="de-DE" b="1" dirty="0"/>
              <a:t>Natürliche Umwelt </a:t>
            </a:r>
            <a:r>
              <a:rPr lang="de-DE" dirty="0"/>
              <a:t>des Menschen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CE15C0CB-02DC-29F5-5788-43809BB1A255}"/>
              </a:ext>
            </a:extLst>
          </p:cNvPr>
          <p:cNvSpPr/>
          <p:nvPr/>
        </p:nvSpPr>
        <p:spPr>
          <a:xfrm>
            <a:off x="3243220" y="2843512"/>
            <a:ext cx="2303369" cy="42299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2) Menschlichen </a:t>
            </a:r>
            <a:r>
              <a:rPr lang="de-DE" b="1" dirty="0"/>
              <a:t>Organismus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EEE7B17F-D53A-C315-7450-7397E202DD58}"/>
              </a:ext>
            </a:extLst>
          </p:cNvPr>
          <p:cNvSpPr/>
          <p:nvPr/>
        </p:nvSpPr>
        <p:spPr>
          <a:xfrm>
            <a:off x="5868315" y="2823509"/>
            <a:ext cx="2303369" cy="44243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3) </a:t>
            </a:r>
            <a:r>
              <a:rPr lang="de-DE" b="1" dirty="0"/>
              <a:t>Menschliche Natu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4F19550-54BC-5023-67C1-96B0F12C6D5B}"/>
              </a:ext>
            </a:extLst>
          </p:cNvPr>
          <p:cNvSpPr txBox="1"/>
          <p:nvPr/>
        </p:nvSpPr>
        <p:spPr>
          <a:xfrm>
            <a:off x="576000" y="3265946"/>
            <a:ext cx="7818519" cy="954107"/>
          </a:xfrm>
          <a:prstGeom prst="rect">
            <a:avLst/>
          </a:prstGeom>
          <a:noFill/>
        </p:spPr>
        <p:txBody>
          <a:bodyPr wrap="square" numCol="3" rtlCol="0">
            <a:sp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2"/>
                </a:solidFill>
              </a:rPr>
              <a:t>„</a:t>
            </a:r>
            <a:r>
              <a:rPr lang="de-DE" sz="1400" b="1" dirty="0">
                <a:solidFill>
                  <a:schemeClr val="tx2"/>
                </a:solidFill>
              </a:rPr>
              <a:t>grüne“ Natur </a:t>
            </a:r>
            <a:r>
              <a:rPr lang="de-DE" sz="1400" b="0" dirty="0">
                <a:solidFill>
                  <a:schemeClr val="tx2"/>
                </a:solidFill>
              </a:rPr>
              <a:t>die um uns rum i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2"/>
                </a:solidFill>
              </a:rPr>
              <a:t>Also </a:t>
            </a:r>
            <a:r>
              <a:rPr lang="de-DE" sz="1400" dirty="0">
                <a:solidFill>
                  <a:schemeClr val="tx2"/>
                </a:solidFill>
              </a:rPr>
              <a:t>unser </a:t>
            </a:r>
            <a:r>
              <a:rPr lang="de-DE" sz="1400" b="0" dirty="0">
                <a:solidFill>
                  <a:schemeClr val="tx2"/>
                </a:solidFill>
              </a:rPr>
              <a:t>Umfel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</a:rPr>
              <a:t>Oft nicht mehr unberührt</a:t>
            </a:r>
            <a:endParaRPr lang="de-DE" sz="1400" b="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2"/>
                </a:solidFill>
              </a:rPr>
              <a:t>Unserer </a:t>
            </a:r>
            <a:r>
              <a:rPr lang="de-DE" sz="1400" b="1" dirty="0">
                <a:solidFill>
                  <a:schemeClr val="tx2"/>
                </a:solidFill>
              </a:rPr>
              <a:t>Körper</a:t>
            </a:r>
            <a:r>
              <a:rPr lang="de-DE" sz="1400" b="0" dirty="0">
                <a:solidFill>
                  <a:schemeClr val="tx2"/>
                </a:solidFill>
              </a:rPr>
              <a:t>        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r>
              <a:rPr lang="de-DE" sz="1400" dirty="0">
                <a:solidFill>
                  <a:schemeClr val="tx2"/>
                </a:solidFill>
              </a:rPr>
              <a:t>                   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chemeClr val="tx2"/>
                </a:solidFill>
              </a:rPr>
              <a:t>Menschliche Wesen </a:t>
            </a:r>
            <a:r>
              <a:rPr lang="de-DE" sz="1400" b="0" dirty="0">
                <a:solidFill>
                  <a:schemeClr val="tx2"/>
                </a:solidFill>
              </a:rPr>
              <a:t>im philosophischen Sin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</a:rPr>
              <a:t>Z.B. Überlebensinstinkt</a:t>
            </a:r>
            <a:endParaRPr lang="de-DE" sz="14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87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4" grpId="0" animBg="1"/>
      <p:bldP spid="15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4) Domestizierung: I Klassiker: Norbert Elias 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9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702601"/>
            <a:ext cx="8317899" cy="3738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Theorie der </a:t>
            </a:r>
            <a:r>
              <a:rPr lang="de-DE" sz="1800" dirty="0"/>
              <a:t>‚Zivilisierung‘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Nutzt das Wort ‚</a:t>
            </a:r>
            <a:r>
              <a:rPr lang="de-DE" sz="1800" dirty="0"/>
              <a:t>Zivilisierung‘ </a:t>
            </a:r>
            <a:r>
              <a:rPr lang="de-DE" sz="1800" b="0" dirty="0"/>
              <a:t>und definiert einen </a:t>
            </a:r>
            <a:r>
              <a:rPr lang="de-DE" sz="1800" dirty="0"/>
              <a:t>Veränderungsprozess</a:t>
            </a:r>
            <a:endParaRPr lang="de-DE" sz="1800" b="0" dirty="0"/>
          </a:p>
          <a:p>
            <a:pPr>
              <a:lnSpc>
                <a:spcPct val="100000"/>
              </a:lnSpc>
            </a:pPr>
            <a:r>
              <a:rPr lang="de-DE" sz="1800" b="0" dirty="0"/>
              <a:t>Prozess der Zivilisation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Zwang</a:t>
            </a:r>
            <a:r>
              <a:rPr lang="de-DE" sz="1800" b="0" dirty="0"/>
              <a:t> das </a:t>
            </a:r>
            <a:r>
              <a:rPr lang="de-DE" sz="1800" dirty="0"/>
              <a:t>eigene Verhalten zu kontrollier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Weshalb? Urbanisierung, Bevölkerungsexplosion, wachsende räumliche Nähe, Arbeitsteilung, kapitalistische Ökonomie…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Folge</a:t>
            </a:r>
            <a:r>
              <a:rPr lang="de-DE" sz="1800" b="0" dirty="0"/>
              <a:t>: zunehmende </a:t>
            </a:r>
            <a:r>
              <a:rPr lang="de-DE" sz="1800" dirty="0"/>
              <a:t>Abhängigkeiten</a:t>
            </a:r>
            <a:r>
              <a:rPr lang="de-DE" sz="1800" b="0" dirty="0"/>
              <a:t> und Interdependenzen </a:t>
            </a:r>
            <a:r>
              <a:rPr lang="de-DE" sz="1800" b="0" dirty="0">
                <a:sym typeface="Wingdings" panose="05000000000000000000" pitchFamily="2" charset="2"/>
              </a:rPr>
              <a:t> Notwendigkeit von </a:t>
            </a:r>
            <a:r>
              <a:rPr lang="de-DE" sz="1800" dirty="0">
                <a:sym typeface="Wingdings" panose="05000000000000000000" pitchFamily="2" charset="2"/>
              </a:rPr>
              <a:t>berechenbarem</a:t>
            </a:r>
            <a:r>
              <a:rPr lang="de-DE" sz="1800" b="0" dirty="0">
                <a:sym typeface="Wingdings" panose="05000000000000000000" pitchFamily="2" charset="2"/>
              </a:rPr>
              <a:t> &amp; kontrollierbaren </a:t>
            </a:r>
            <a:r>
              <a:rPr lang="de-DE" sz="1800" dirty="0">
                <a:sym typeface="Wingdings" panose="05000000000000000000" pitchFamily="2" charset="2"/>
              </a:rPr>
              <a:t>Verhalt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Zeigt sich durch </a:t>
            </a:r>
            <a:r>
              <a:rPr lang="de-DE" sz="1800" dirty="0">
                <a:sym typeface="Wingdings" panose="05000000000000000000" pitchFamily="2" charset="2"/>
              </a:rPr>
              <a:t>wachsende Etiketten </a:t>
            </a:r>
            <a:r>
              <a:rPr lang="de-DE" sz="1800" b="0" dirty="0">
                <a:sym typeface="Wingdings" panose="05000000000000000000" pitchFamily="2" charset="2"/>
              </a:rPr>
              <a:t>(= Benimmregeln)  </a:t>
            </a:r>
            <a:r>
              <a:rPr lang="de-DE" sz="1800" dirty="0">
                <a:sym typeface="Wingdings" panose="05000000000000000000" pitchFamily="2" charset="2"/>
              </a:rPr>
              <a:t>Selbstzwang</a:t>
            </a:r>
            <a:endParaRPr lang="de-DE" sz="1800" dirty="0"/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0666" y="-15932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75666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32</Words>
  <Application>Microsoft Office PowerPoint</Application>
  <PresentationFormat>Bildschirmpräsentation (16:9)</PresentationFormat>
  <Paragraphs>353</Paragraphs>
  <Slides>29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5" baseType="lpstr">
      <vt:lpstr>Arial</vt:lpstr>
      <vt:lpstr>Calibri</vt:lpstr>
      <vt:lpstr>Calibri-Bold</vt:lpstr>
      <vt:lpstr>Courier New</vt:lpstr>
      <vt:lpstr>Wingdings</vt:lpstr>
      <vt:lpstr>PowerPoint Master RUB</vt:lpstr>
      <vt:lpstr>Tutorium zur VL. Sitzung (10) und (11)</vt:lpstr>
      <vt:lpstr>Modernisierung:  I: Differenzierung II: Individualisierung III: Rationalisierung IIII: Domestizierung                                           van der Loo &amp; van Reijen (1997)   </vt:lpstr>
      <vt:lpstr>Merkmale Rationalisierung:</vt:lpstr>
      <vt:lpstr>Merkmale Rationalisierung:</vt:lpstr>
      <vt:lpstr>3) Rationalisierung</vt:lpstr>
      <vt:lpstr>1) Ambivalox der Rationalisierung</vt:lpstr>
      <vt:lpstr>Modernisierung:  I: Differenzierung II: Individualisierung III: Rationalisierung IIII: Domestizierung                                           van der Loo &amp; van Reijen (1997)   </vt:lpstr>
      <vt:lpstr>4) Domestizierung</vt:lpstr>
      <vt:lpstr>4) Domestizierung: I Klassiker: Norbert Elias </vt:lpstr>
      <vt:lpstr>4) Domestizierung: II Klassiker: Michael Foucault </vt:lpstr>
      <vt:lpstr>4) Domestizierung: I und II Klassiker</vt:lpstr>
      <vt:lpstr>Ambivalox der Domestizierung</vt:lpstr>
      <vt:lpstr>Zusammenfassung der vier Amvibaloxa</vt:lpstr>
      <vt:lpstr>  Kapitel 11:  Fortsetzung des Blicks auf Modernisierung</vt:lpstr>
      <vt:lpstr> Modernisierung: Das Acht-Faktoren-Modell</vt:lpstr>
      <vt:lpstr>Modernisierung: (Erweiterung)  I: Beschleunigung II: Globalisierung III: Integration IIII: Vergeschlechtlichung                                                   Degele &amp; Dries (2005)   </vt:lpstr>
      <vt:lpstr>Modernisierung: 1) Beschleunigung </vt:lpstr>
      <vt:lpstr>Modernisierung: Ende der Beschleunigungsspirale? </vt:lpstr>
      <vt:lpstr>Ambivalox der Beschleunigung</vt:lpstr>
      <vt:lpstr>Modernisierung: (Erweiterung)  I: Beschleunigung II: Globalisierung III: Integration IIII: Vergeschlechtlichung                                                   Degele &amp; Dries (2005)   </vt:lpstr>
      <vt:lpstr>Modernisierung: 2) Globalisierung</vt:lpstr>
      <vt:lpstr>Kernprobleme der Globalisierungsdebatte</vt:lpstr>
      <vt:lpstr>Tendenzen der Globalisierung</vt:lpstr>
      <vt:lpstr>Zwei Tendenzen der Globalisierung</vt:lpstr>
      <vt:lpstr>Zwei Tendenzen der Globalisierung</vt:lpstr>
      <vt:lpstr>Ambivalox der Globalisierung</vt:lpstr>
      <vt:lpstr>Lernziele: sechste Sitzung I VL. (10) und (11)</vt:lpstr>
      <vt:lpstr>Ausblick: nächste Sitzung </vt:lpstr>
      <vt:lpstr>1) Beschleunigung: neuere Theorie: Hartmut Ros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4</cp:revision>
  <cp:lastPrinted>2022-04-21T15:49:35Z</cp:lastPrinted>
  <dcterms:created xsi:type="dcterms:W3CDTF">2020-06-22T16:14:58Z</dcterms:created>
  <dcterms:modified xsi:type="dcterms:W3CDTF">2022-11-23T11:05:21Z</dcterms:modified>
</cp:coreProperties>
</file>